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ustom.xml" ContentType="application/vnd.openxmlformats-officedocument.custom-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3" r:id="rId3"/>
    <p:sldMasterId id="2147483681" r:id="rId4"/>
  </p:sldMasterIdLst>
  <p:notesMasterIdLst>
    <p:notesMasterId r:id="rId31"/>
  </p:notesMasterIdLst>
  <p:sldIdLst>
    <p:sldId id="272" r:id="rId5"/>
    <p:sldId id="262" r:id="rId6"/>
    <p:sldId id="328" r:id="rId7"/>
    <p:sldId id="325" r:id="rId8"/>
    <p:sldId id="291" r:id="rId9"/>
    <p:sldId id="327" r:id="rId10"/>
    <p:sldId id="326" r:id="rId11"/>
    <p:sldId id="305" r:id="rId12"/>
    <p:sldId id="329" r:id="rId13"/>
    <p:sldId id="304" r:id="rId14"/>
    <p:sldId id="306" r:id="rId15"/>
    <p:sldId id="311" r:id="rId16"/>
    <p:sldId id="324" r:id="rId17"/>
    <p:sldId id="320" r:id="rId18"/>
    <p:sldId id="321" r:id="rId19"/>
    <p:sldId id="322" r:id="rId20"/>
    <p:sldId id="323" r:id="rId21"/>
    <p:sldId id="330" r:id="rId22"/>
    <p:sldId id="308" r:id="rId23"/>
    <p:sldId id="280" r:id="rId24"/>
    <p:sldId id="300" r:id="rId25"/>
    <p:sldId id="331" r:id="rId26"/>
    <p:sldId id="307" r:id="rId27"/>
    <p:sldId id="309" r:id="rId28"/>
    <p:sldId id="296" r:id="rId29"/>
    <p:sldId id="263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CC"/>
    <a:srgbClr val="0066CC"/>
    <a:srgbClr val="FFCC66"/>
    <a:srgbClr val="FF9933"/>
    <a:srgbClr val="24FC24"/>
    <a:srgbClr val="FF6600"/>
    <a:srgbClr val="CCFF99"/>
    <a:srgbClr val="FFCC00"/>
    <a:srgbClr val="3333CC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1" d="100"/>
          <a:sy n="81" d="100"/>
        </p:scale>
        <p:origin x="25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38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openxmlformats.org/officeDocument/2006/relationships/customXml" Target="../customXml/item2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ustomXml" Target="../customXml/item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796CF4-FCDA-4265-879F-81CC5ED49B0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CBAE5D-5AD2-4233-8B55-8A040D9A5C0E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800" dirty="0"/>
            <a:t>Find errors earlier in the development</a:t>
          </a:r>
        </a:p>
      </dgm:t>
    </dgm:pt>
    <dgm:pt modelId="{011D6A82-476C-498B-A4EA-EC2EEB4B1904}" type="parTrans" cxnId="{CD459087-BC4F-4134-A4DB-664D3CFBAD7C}">
      <dgm:prSet/>
      <dgm:spPr/>
      <dgm:t>
        <a:bodyPr/>
        <a:lstStyle/>
        <a:p>
          <a:endParaRPr lang="en-US"/>
        </a:p>
      </dgm:t>
    </dgm:pt>
    <dgm:pt modelId="{DC7633FB-BDED-42E9-B034-BD1297F5302E}" type="sibTrans" cxnId="{CD459087-BC4F-4134-A4DB-664D3CFBAD7C}">
      <dgm:prSet/>
      <dgm:spPr/>
      <dgm:t>
        <a:bodyPr/>
        <a:lstStyle/>
        <a:p>
          <a:endParaRPr lang="en-US"/>
        </a:p>
      </dgm:t>
    </dgm:pt>
    <dgm:pt modelId="{6F9F74E3-C8FE-4A2B-BAAA-CC8311418A0D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800" dirty="0"/>
            <a:t>Finds security errors &amp; Detects over complexity in code</a:t>
          </a:r>
        </a:p>
      </dgm:t>
    </dgm:pt>
    <dgm:pt modelId="{D98E0172-0881-44C6-BF7C-8B3BC8B5C53A}" type="parTrans" cxnId="{871BDF9B-E852-49DF-9368-AE0DDDD8C458}">
      <dgm:prSet/>
      <dgm:spPr/>
      <dgm:t>
        <a:bodyPr/>
        <a:lstStyle/>
        <a:p>
          <a:endParaRPr lang="en-US"/>
        </a:p>
      </dgm:t>
    </dgm:pt>
    <dgm:pt modelId="{AA67DE0A-3BDD-40FC-9F16-FF346A9D712F}" type="sibTrans" cxnId="{871BDF9B-E852-49DF-9368-AE0DDDD8C458}">
      <dgm:prSet/>
      <dgm:spPr/>
      <dgm:t>
        <a:bodyPr/>
        <a:lstStyle/>
        <a:p>
          <a:endParaRPr lang="en-US"/>
        </a:p>
      </dgm:t>
    </dgm:pt>
    <dgm:pt modelId="{68515DCC-2FD3-4AE9-8A83-144EA6494D3A}">
      <dgm:prSet phldrT="[Text]" custT="1"/>
      <dgm:spPr>
        <a:solidFill>
          <a:srgbClr val="33CCCC"/>
        </a:solidFill>
      </dgm:spPr>
      <dgm:t>
        <a:bodyPr/>
        <a:lstStyle/>
        <a:p>
          <a:r>
            <a:rPr lang="en-US" sz="1800" dirty="0"/>
            <a:t>Enforces best coding practices</a:t>
          </a:r>
        </a:p>
      </dgm:t>
    </dgm:pt>
    <dgm:pt modelId="{C2E0A54A-C3F5-4AFD-AFA1-161A2349DB87}" type="parTrans" cxnId="{6901768A-CC0F-4908-B25C-CFF4689881E5}">
      <dgm:prSet/>
      <dgm:spPr/>
      <dgm:t>
        <a:bodyPr/>
        <a:lstStyle/>
        <a:p>
          <a:endParaRPr lang="en-US"/>
        </a:p>
      </dgm:t>
    </dgm:pt>
    <dgm:pt modelId="{228F4069-8257-47E7-912F-6D7D05DC1586}" type="sibTrans" cxnId="{6901768A-CC0F-4908-B25C-CFF4689881E5}">
      <dgm:prSet/>
      <dgm:spPr/>
      <dgm:t>
        <a:bodyPr/>
        <a:lstStyle/>
        <a:p>
          <a:endParaRPr lang="en-US"/>
        </a:p>
      </dgm:t>
    </dgm:pt>
    <dgm:pt modelId="{B2085FE7-2ACE-45DB-AB0D-83E4EE7E4952}">
      <dgm:prSet phldrT="[Text]" custT="1"/>
      <dgm:spPr>
        <a:solidFill>
          <a:srgbClr val="FF6600"/>
        </a:solidFill>
      </dgm:spPr>
      <dgm:t>
        <a:bodyPr/>
        <a:lstStyle/>
        <a:p>
          <a:r>
            <a:rPr lang="en-US" sz="1800" dirty="0"/>
            <a:t>Automate &amp; </a:t>
          </a:r>
          <a:r>
            <a:rPr lang="en-US" sz="1800" dirty="0" err="1"/>
            <a:t>Interate</a:t>
          </a:r>
          <a:r>
            <a:rPr lang="en-US" sz="1800" dirty="0"/>
            <a:t> in Jenkins</a:t>
          </a:r>
        </a:p>
      </dgm:t>
    </dgm:pt>
    <dgm:pt modelId="{DF7DF812-856B-409D-92FF-44806EEEBD6A}" type="parTrans" cxnId="{85BEA297-AF70-4287-B2E2-7B140D608D05}">
      <dgm:prSet/>
      <dgm:spPr/>
      <dgm:t>
        <a:bodyPr/>
        <a:lstStyle/>
        <a:p>
          <a:endParaRPr lang="en-US"/>
        </a:p>
      </dgm:t>
    </dgm:pt>
    <dgm:pt modelId="{F5150E7C-58F9-4DA0-BDAC-E04A59BE7E3E}" type="sibTrans" cxnId="{85BEA297-AF70-4287-B2E2-7B140D608D05}">
      <dgm:prSet/>
      <dgm:spPr/>
      <dgm:t>
        <a:bodyPr/>
        <a:lstStyle/>
        <a:p>
          <a:endParaRPr lang="en-US"/>
        </a:p>
      </dgm:t>
    </dgm:pt>
    <dgm:pt modelId="{A3679B18-7BC6-494B-A512-60BF8EC37AA3}" type="pres">
      <dgm:prSet presAssocID="{4D796CF4-FCDA-4265-879F-81CC5ED49B0F}" presName="linear" presStyleCnt="0">
        <dgm:presLayoutVars>
          <dgm:dir/>
          <dgm:animLvl val="lvl"/>
          <dgm:resizeHandles val="exact"/>
        </dgm:presLayoutVars>
      </dgm:prSet>
      <dgm:spPr/>
    </dgm:pt>
    <dgm:pt modelId="{783F93D9-54A9-4B13-8F45-173B5EF2C4C2}" type="pres">
      <dgm:prSet presAssocID="{5DCBAE5D-5AD2-4233-8B55-8A040D9A5C0E}" presName="parentLin" presStyleCnt="0"/>
      <dgm:spPr/>
    </dgm:pt>
    <dgm:pt modelId="{323CA350-EA64-4052-962F-32298C552592}" type="pres">
      <dgm:prSet presAssocID="{5DCBAE5D-5AD2-4233-8B55-8A040D9A5C0E}" presName="parentLeftMargin" presStyleLbl="node1" presStyleIdx="0" presStyleCnt="4"/>
      <dgm:spPr/>
    </dgm:pt>
    <dgm:pt modelId="{2AA3B61F-B019-4DC1-8FB4-EC556C032AB6}" type="pres">
      <dgm:prSet presAssocID="{5DCBAE5D-5AD2-4233-8B55-8A040D9A5C0E}" presName="parentText" presStyleLbl="node1" presStyleIdx="0" presStyleCnt="4" custScaleY="69293">
        <dgm:presLayoutVars>
          <dgm:chMax val="0"/>
          <dgm:bulletEnabled val="1"/>
        </dgm:presLayoutVars>
      </dgm:prSet>
      <dgm:spPr/>
    </dgm:pt>
    <dgm:pt modelId="{2C2BC0AC-AF25-40A0-A475-C9C580306972}" type="pres">
      <dgm:prSet presAssocID="{5DCBAE5D-5AD2-4233-8B55-8A040D9A5C0E}" presName="negativeSpace" presStyleCnt="0"/>
      <dgm:spPr/>
    </dgm:pt>
    <dgm:pt modelId="{BD528501-7669-4459-B2DA-66FF7C264FF3}" type="pres">
      <dgm:prSet presAssocID="{5DCBAE5D-5AD2-4233-8B55-8A040D9A5C0E}" presName="childText" presStyleLbl="conFgAcc1" presStyleIdx="0" presStyleCnt="4">
        <dgm:presLayoutVars>
          <dgm:bulletEnabled val="1"/>
        </dgm:presLayoutVars>
      </dgm:prSet>
      <dgm:spPr/>
    </dgm:pt>
    <dgm:pt modelId="{FF4D6737-806A-4E98-9938-1B50C456139C}" type="pres">
      <dgm:prSet presAssocID="{DC7633FB-BDED-42E9-B034-BD1297F5302E}" presName="spaceBetweenRectangles" presStyleCnt="0"/>
      <dgm:spPr/>
    </dgm:pt>
    <dgm:pt modelId="{B88C16E8-BC5C-4892-80FC-4DA5775B078D}" type="pres">
      <dgm:prSet presAssocID="{6F9F74E3-C8FE-4A2B-BAAA-CC8311418A0D}" presName="parentLin" presStyleCnt="0"/>
      <dgm:spPr/>
    </dgm:pt>
    <dgm:pt modelId="{0EE7B115-EECE-4392-BC4F-B0A6C160A3A9}" type="pres">
      <dgm:prSet presAssocID="{6F9F74E3-C8FE-4A2B-BAAA-CC8311418A0D}" presName="parentLeftMargin" presStyleLbl="node1" presStyleIdx="0" presStyleCnt="4"/>
      <dgm:spPr/>
    </dgm:pt>
    <dgm:pt modelId="{FB1D6E1C-F505-4EE1-ABD8-F416FF35F8D1}" type="pres">
      <dgm:prSet presAssocID="{6F9F74E3-C8FE-4A2B-BAAA-CC8311418A0D}" presName="parentText" presStyleLbl="node1" presStyleIdx="1" presStyleCnt="4" custScaleY="66713">
        <dgm:presLayoutVars>
          <dgm:chMax val="0"/>
          <dgm:bulletEnabled val="1"/>
        </dgm:presLayoutVars>
      </dgm:prSet>
      <dgm:spPr/>
    </dgm:pt>
    <dgm:pt modelId="{78AC98C5-F8F7-4591-8D42-74BBCEDDBBF6}" type="pres">
      <dgm:prSet presAssocID="{6F9F74E3-C8FE-4A2B-BAAA-CC8311418A0D}" presName="negativeSpace" presStyleCnt="0"/>
      <dgm:spPr/>
    </dgm:pt>
    <dgm:pt modelId="{50FC431E-81F2-4159-9687-E082A52CCF90}" type="pres">
      <dgm:prSet presAssocID="{6F9F74E3-C8FE-4A2B-BAAA-CC8311418A0D}" presName="childText" presStyleLbl="conFgAcc1" presStyleIdx="1" presStyleCnt="4">
        <dgm:presLayoutVars>
          <dgm:bulletEnabled val="1"/>
        </dgm:presLayoutVars>
      </dgm:prSet>
      <dgm:spPr/>
    </dgm:pt>
    <dgm:pt modelId="{43825FEA-64C7-4D89-9E6F-0ED93B204307}" type="pres">
      <dgm:prSet presAssocID="{AA67DE0A-3BDD-40FC-9F16-FF346A9D712F}" presName="spaceBetweenRectangles" presStyleCnt="0"/>
      <dgm:spPr/>
    </dgm:pt>
    <dgm:pt modelId="{926214B3-5824-48D7-82A0-00A896974186}" type="pres">
      <dgm:prSet presAssocID="{68515DCC-2FD3-4AE9-8A83-144EA6494D3A}" presName="parentLin" presStyleCnt="0"/>
      <dgm:spPr/>
    </dgm:pt>
    <dgm:pt modelId="{F0F9CB28-934C-4D9D-97ED-7EF350DF0D6C}" type="pres">
      <dgm:prSet presAssocID="{68515DCC-2FD3-4AE9-8A83-144EA6494D3A}" presName="parentLeftMargin" presStyleLbl="node1" presStyleIdx="1" presStyleCnt="4"/>
      <dgm:spPr/>
    </dgm:pt>
    <dgm:pt modelId="{4E17CBAF-2B4F-4778-8D4A-45C97DB73230}" type="pres">
      <dgm:prSet presAssocID="{68515DCC-2FD3-4AE9-8A83-144EA6494D3A}" presName="parentText" presStyleLbl="node1" presStyleIdx="2" presStyleCnt="4" custScaleY="68785">
        <dgm:presLayoutVars>
          <dgm:chMax val="0"/>
          <dgm:bulletEnabled val="1"/>
        </dgm:presLayoutVars>
      </dgm:prSet>
      <dgm:spPr/>
    </dgm:pt>
    <dgm:pt modelId="{0351D554-3D9F-4660-A853-12568060C9E2}" type="pres">
      <dgm:prSet presAssocID="{68515DCC-2FD3-4AE9-8A83-144EA6494D3A}" presName="negativeSpace" presStyleCnt="0"/>
      <dgm:spPr/>
    </dgm:pt>
    <dgm:pt modelId="{EE0ECA0A-8C32-4EAF-A78E-B12EB714C78E}" type="pres">
      <dgm:prSet presAssocID="{68515DCC-2FD3-4AE9-8A83-144EA6494D3A}" presName="childText" presStyleLbl="conFgAcc1" presStyleIdx="2" presStyleCnt="4">
        <dgm:presLayoutVars>
          <dgm:bulletEnabled val="1"/>
        </dgm:presLayoutVars>
      </dgm:prSet>
      <dgm:spPr/>
    </dgm:pt>
    <dgm:pt modelId="{3E5BB733-271B-438B-9530-E05BC1DB3E39}" type="pres">
      <dgm:prSet presAssocID="{228F4069-8257-47E7-912F-6D7D05DC1586}" presName="spaceBetweenRectangles" presStyleCnt="0"/>
      <dgm:spPr/>
    </dgm:pt>
    <dgm:pt modelId="{128113CF-9DF9-498D-9E57-FEB7F948F5FA}" type="pres">
      <dgm:prSet presAssocID="{B2085FE7-2ACE-45DB-AB0D-83E4EE7E4952}" presName="parentLin" presStyleCnt="0"/>
      <dgm:spPr/>
    </dgm:pt>
    <dgm:pt modelId="{B14EAD0F-6B11-46A2-9AF9-DF18BA38C401}" type="pres">
      <dgm:prSet presAssocID="{B2085FE7-2ACE-45DB-AB0D-83E4EE7E4952}" presName="parentLeftMargin" presStyleLbl="node1" presStyleIdx="2" presStyleCnt="4"/>
      <dgm:spPr/>
    </dgm:pt>
    <dgm:pt modelId="{82D32FE8-67B2-4DE5-8FEB-0E746ED091DB}" type="pres">
      <dgm:prSet presAssocID="{B2085FE7-2ACE-45DB-AB0D-83E4EE7E4952}" presName="parentText" presStyleLbl="node1" presStyleIdx="3" presStyleCnt="4" custScaleY="75855" custLinFactNeighborY="-4267">
        <dgm:presLayoutVars>
          <dgm:chMax val="0"/>
          <dgm:bulletEnabled val="1"/>
        </dgm:presLayoutVars>
      </dgm:prSet>
      <dgm:spPr/>
    </dgm:pt>
    <dgm:pt modelId="{560C5FC6-6DDE-4FE0-AB99-53DF4715B4F2}" type="pres">
      <dgm:prSet presAssocID="{B2085FE7-2ACE-45DB-AB0D-83E4EE7E4952}" presName="negativeSpace" presStyleCnt="0"/>
      <dgm:spPr/>
    </dgm:pt>
    <dgm:pt modelId="{F272787C-D1F5-442C-A4E2-3D78A67DF8B2}" type="pres">
      <dgm:prSet presAssocID="{B2085FE7-2ACE-45DB-AB0D-83E4EE7E4952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8D91E28-2189-414C-9C6C-42E57AAE895F}" type="presOf" srcId="{B2085FE7-2ACE-45DB-AB0D-83E4EE7E4952}" destId="{B14EAD0F-6B11-46A2-9AF9-DF18BA38C401}" srcOrd="0" destOrd="0" presId="urn:microsoft.com/office/officeart/2005/8/layout/list1"/>
    <dgm:cxn modelId="{52808F3F-B61A-4CF3-95A1-302B08A98C11}" type="presOf" srcId="{6F9F74E3-C8FE-4A2B-BAAA-CC8311418A0D}" destId="{0EE7B115-EECE-4392-BC4F-B0A6C160A3A9}" srcOrd="0" destOrd="0" presId="urn:microsoft.com/office/officeart/2005/8/layout/list1"/>
    <dgm:cxn modelId="{EA6E8D46-1B58-45E2-8D85-4E91F7860FA2}" type="presOf" srcId="{4D796CF4-FCDA-4265-879F-81CC5ED49B0F}" destId="{A3679B18-7BC6-494B-A512-60BF8EC37AA3}" srcOrd="0" destOrd="0" presId="urn:microsoft.com/office/officeart/2005/8/layout/list1"/>
    <dgm:cxn modelId="{38049A6A-0CF5-483C-8353-DEC17995FE8A}" type="presOf" srcId="{5DCBAE5D-5AD2-4233-8B55-8A040D9A5C0E}" destId="{323CA350-EA64-4052-962F-32298C552592}" srcOrd="0" destOrd="0" presId="urn:microsoft.com/office/officeart/2005/8/layout/list1"/>
    <dgm:cxn modelId="{CEF0D87E-83FC-460C-98F2-2BEF18E7BBB2}" type="presOf" srcId="{5DCBAE5D-5AD2-4233-8B55-8A040D9A5C0E}" destId="{2AA3B61F-B019-4DC1-8FB4-EC556C032AB6}" srcOrd="1" destOrd="0" presId="urn:microsoft.com/office/officeart/2005/8/layout/list1"/>
    <dgm:cxn modelId="{064D0B81-EFE3-40EA-A8B7-4D2DC1867A3E}" type="presOf" srcId="{B2085FE7-2ACE-45DB-AB0D-83E4EE7E4952}" destId="{82D32FE8-67B2-4DE5-8FEB-0E746ED091DB}" srcOrd="1" destOrd="0" presId="urn:microsoft.com/office/officeart/2005/8/layout/list1"/>
    <dgm:cxn modelId="{CD459087-BC4F-4134-A4DB-664D3CFBAD7C}" srcId="{4D796CF4-FCDA-4265-879F-81CC5ED49B0F}" destId="{5DCBAE5D-5AD2-4233-8B55-8A040D9A5C0E}" srcOrd="0" destOrd="0" parTransId="{011D6A82-476C-498B-A4EA-EC2EEB4B1904}" sibTransId="{DC7633FB-BDED-42E9-B034-BD1297F5302E}"/>
    <dgm:cxn modelId="{6901768A-CC0F-4908-B25C-CFF4689881E5}" srcId="{4D796CF4-FCDA-4265-879F-81CC5ED49B0F}" destId="{68515DCC-2FD3-4AE9-8A83-144EA6494D3A}" srcOrd="2" destOrd="0" parTransId="{C2E0A54A-C3F5-4AFD-AFA1-161A2349DB87}" sibTransId="{228F4069-8257-47E7-912F-6D7D05DC1586}"/>
    <dgm:cxn modelId="{85BEA297-AF70-4287-B2E2-7B140D608D05}" srcId="{4D796CF4-FCDA-4265-879F-81CC5ED49B0F}" destId="{B2085FE7-2ACE-45DB-AB0D-83E4EE7E4952}" srcOrd="3" destOrd="0" parTransId="{DF7DF812-856B-409D-92FF-44806EEEBD6A}" sibTransId="{F5150E7C-58F9-4DA0-BDAC-E04A59BE7E3E}"/>
    <dgm:cxn modelId="{871BDF9B-E852-49DF-9368-AE0DDDD8C458}" srcId="{4D796CF4-FCDA-4265-879F-81CC5ED49B0F}" destId="{6F9F74E3-C8FE-4A2B-BAAA-CC8311418A0D}" srcOrd="1" destOrd="0" parTransId="{D98E0172-0881-44C6-BF7C-8B3BC8B5C53A}" sibTransId="{AA67DE0A-3BDD-40FC-9F16-FF346A9D712F}"/>
    <dgm:cxn modelId="{29AE64B0-C876-4DEE-8C6A-6AAF420D4489}" type="presOf" srcId="{6F9F74E3-C8FE-4A2B-BAAA-CC8311418A0D}" destId="{FB1D6E1C-F505-4EE1-ABD8-F416FF35F8D1}" srcOrd="1" destOrd="0" presId="urn:microsoft.com/office/officeart/2005/8/layout/list1"/>
    <dgm:cxn modelId="{7DD4ACDC-16FC-4F18-B97A-B3D0E2964C71}" type="presOf" srcId="{68515DCC-2FD3-4AE9-8A83-144EA6494D3A}" destId="{4E17CBAF-2B4F-4778-8D4A-45C97DB73230}" srcOrd="1" destOrd="0" presId="urn:microsoft.com/office/officeart/2005/8/layout/list1"/>
    <dgm:cxn modelId="{1F57A1F7-AB62-4B19-BCAB-5FEF4738222E}" type="presOf" srcId="{68515DCC-2FD3-4AE9-8A83-144EA6494D3A}" destId="{F0F9CB28-934C-4D9D-97ED-7EF350DF0D6C}" srcOrd="0" destOrd="0" presId="urn:microsoft.com/office/officeart/2005/8/layout/list1"/>
    <dgm:cxn modelId="{D59A5A4E-821B-4E91-915C-B68D74D3F336}" type="presParOf" srcId="{A3679B18-7BC6-494B-A512-60BF8EC37AA3}" destId="{783F93D9-54A9-4B13-8F45-173B5EF2C4C2}" srcOrd="0" destOrd="0" presId="urn:microsoft.com/office/officeart/2005/8/layout/list1"/>
    <dgm:cxn modelId="{66E62BD0-98BA-4A93-A7C1-DB25FA2B0157}" type="presParOf" srcId="{783F93D9-54A9-4B13-8F45-173B5EF2C4C2}" destId="{323CA350-EA64-4052-962F-32298C552592}" srcOrd="0" destOrd="0" presId="urn:microsoft.com/office/officeart/2005/8/layout/list1"/>
    <dgm:cxn modelId="{BD33ACC7-4B51-44E1-BEE0-D37BF941CF6D}" type="presParOf" srcId="{783F93D9-54A9-4B13-8F45-173B5EF2C4C2}" destId="{2AA3B61F-B019-4DC1-8FB4-EC556C032AB6}" srcOrd="1" destOrd="0" presId="urn:microsoft.com/office/officeart/2005/8/layout/list1"/>
    <dgm:cxn modelId="{5F6D31A7-5FBB-4102-A70A-18C4594FAE09}" type="presParOf" srcId="{A3679B18-7BC6-494B-A512-60BF8EC37AA3}" destId="{2C2BC0AC-AF25-40A0-A475-C9C580306972}" srcOrd="1" destOrd="0" presId="urn:microsoft.com/office/officeart/2005/8/layout/list1"/>
    <dgm:cxn modelId="{03715241-6384-422C-8068-8E6CFB73C9BC}" type="presParOf" srcId="{A3679B18-7BC6-494B-A512-60BF8EC37AA3}" destId="{BD528501-7669-4459-B2DA-66FF7C264FF3}" srcOrd="2" destOrd="0" presId="urn:microsoft.com/office/officeart/2005/8/layout/list1"/>
    <dgm:cxn modelId="{912FE06B-7C2C-4F1B-8B2A-4880AA3FFBD8}" type="presParOf" srcId="{A3679B18-7BC6-494B-A512-60BF8EC37AA3}" destId="{FF4D6737-806A-4E98-9938-1B50C456139C}" srcOrd="3" destOrd="0" presId="urn:microsoft.com/office/officeart/2005/8/layout/list1"/>
    <dgm:cxn modelId="{31AE3057-F965-4662-AD81-6A0C7B8F8D45}" type="presParOf" srcId="{A3679B18-7BC6-494B-A512-60BF8EC37AA3}" destId="{B88C16E8-BC5C-4892-80FC-4DA5775B078D}" srcOrd="4" destOrd="0" presId="urn:microsoft.com/office/officeart/2005/8/layout/list1"/>
    <dgm:cxn modelId="{115A54AA-DB8F-402B-BF20-507B79E20CC4}" type="presParOf" srcId="{B88C16E8-BC5C-4892-80FC-4DA5775B078D}" destId="{0EE7B115-EECE-4392-BC4F-B0A6C160A3A9}" srcOrd="0" destOrd="0" presId="urn:microsoft.com/office/officeart/2005/8/layout/list1"/>
    <dgm:cxn modelId="{37C5DDFB-B58C-4AE3-A1A8-4E10968F2681}" type="presParOf" srcId="{B88C16E8-BC5C-4892-80FC-4DA5775B078D}" destId="{FB1D6E1C-F505-4EE1-ABD8-F416FF35F8D1}" srcOrd="1" destOrd="0" presId="urn:microsoft.com/office/officeart/2005/8/layout/list1"/>
    <dgm:cxn modelId="{1E89AABD-F4BE-4F1A-92FC-B6A703870FCA}" type="presParOf" srcId="{A3679B18-7BC6-494B-A512-60BF8EC37AA3}" destId="{78AC98C5-F8F7-4591-8D42-74BBCEDDBBF6}" srcOrd="5" destOrd="0" presId="urn:microsoft.com/office/officeart/2005/8/layout/list1"/>
    <dgm:cxn modelId="{C7E70AB0-C9E8-4D15-92C5-6655255D6A51}" type="presParOf" srcId="{A3679B18-7BC6-494B-A512-60BF8EC37AA3}" destId="{50FC431E-81F2-4159-9687-E082A52CCF90}" srcOrd="6" destOrd="0" presId="urn:microsoft.com/office/officeart/2005/8/layout/list1"/>
    <dgm:cxn modelId="{5EBAF292-901A-4AA5-B287-0A98437A514D}" type="presParOf" srcId="{A3679B18-7BC6-494B-A512-60BF8EC37AA3}" destId="{43825FEA-64C7-4D89-9E6F-0ED93B204307}" srcOrd="7" destOrd="0" presId="urn:microsoft.com/office/officeart/2005/8/layout/list1"/>
    <dgm:cxn modelId="{EC62F876-5F48-4629-BEC4-742B60788F3C}" type="presParOf" srcId="{A3679B18-7BC6-494B-A512-60BF8EC37AA3}" destId="{926214B3-5824-48D7-82A0-00A896974186}" srcOrd="8" destOrd="0" presId="urn:microsoft.com/office/officeart/2005/8/layout/list1"/>
    <dgm:cxn modelId="{828AECD3-08EF-4AAE-A742-45E368D14453}" type="presParOf" srcId="{926214B3-5824-48D7-82A0-00A896974186}" destId="{F0F9CB28-934C-4D9D-97ED-7EF350DF0D6C}" srcOrd="0" destOrd="0" presId="urn:microsoft.com/office/officeart/2005/8/layout/list1"/>
    <dgm:cxn modelId="{3125108D-854F-425A-8740-7044C10CBF46}" type="presParOf" srcId="{926214B3-5824-48D7-82A0-00A896974186}" destId="{4E17CBAF-2B4F-4778-8D4A-45C97DB73230}" srcOrd="1" destOrd="0" presId="urn:microsoft.com/office/officeart/2005/8/layout/list1"/>
    <dgm:cxn modelId="{6F6CCF97-243B-4C49-B2F6-3310F5935CB7}" type="presParOf" srcId="{A3679B18-7BC6-494B-A512-60BF8EC37AA3}" destId="{0351D554-3D9F-4660-A853-12568060C9E2}" srcOrd="9" destOrd="0" presId="urn:microsoft.com/office/officeart/2005/8/layout/list1"/>
    <dgm:cxn modelId="{DAAC5AA9-3F3B-441A-A124-CD190895DE83}" type="presParOf" srcId="{A3679B18-7BC6-494B-A512-60BF8EC37AA3}" destId="{EE0ECA0A-8C32-4EAF-A78E-B12EB714C78E}" srcOrd="10" destOrd="0" presId="urn:microsoft.com/office/officeart/2005/8/layout/list1"/>
    <dgm:cxn modelId="{8F7A7AEA-9D1F-4CF2-8322-6E457ED6DB73}" type="presParOf" srcId="{A3679B18-7BC6-494B-A512-60BF8EC37AA3}" destId="{3E5BB733-271B-438B-9530-E05BC1DB3E39}" srcOrd="11" destOrd="0" presId="urn:microsoft.com/office/officeart/2005/8/layout/list1"/>
    <dgm:cxn modelId="{248FB5DF-DF44-4AB4-A367-CBFA418831CA}" type="presParOf" srcId="{A3679B18-7BC6-494B-A512-60BF8EC37AA3}" destId="{128113CF-9DF9-498D-9E57-FEB7F948F5FA}" srcOrd="12" destOrd="0" presId="urn:microsoft.com/office/officeart/2005/8/layout/list1"/>
    <dgm:cxn modelId="{C50DEE06-95CC-4EAA-9DA0-2C8D10CA1609}" type="presParOf" srcId="{128113CF-9DF9-498D-9E57-FEB7F948F5FA}" destId="{B14EAD0F-6B11-46A2-9AF9-DF18BA38C401}" srcOrd="0" destOrd="0" presId="urn:microsoft.com/office/officeart/2005/8/layout/list1"/>
    <dgm:cxn modelId="{956F47EF-8F8D-40E3-A05D-8A500B26F087}" type="presParOf" srcId="{128113CF-9DF9-498D-9E57-FEB7F948F5FA}" destId="{82D32FE8-67B2-4DE5-8FEB-0E746ED091DB}" srcOrd="1" destOrd="0" presId="urn:microsoft.com/office/officeart/2005/8/layout/list1"/>
    <dgm:cxn modelId="{C6E074AD-DBD6-4DE7-9A2E-5068824C8679}" type="presParOf" srcId="{A3679B18-7BC6-494B-A512-60BF8EC37AA3}" destId="{560C5FC6-6DDE-4FE0-AB99-53DF4715B4F2}" srcOrd="13" destOrd="0" presId="urn:microsoft.com/office/officeart/2005/8/layout/list1"/>
    <dgm:cxn modelId="{D8665037-84FB-42D5-8485-AD0A2EA3C4D4}" type="presParOf" srcId="{A3679B18-7BC6-494B-A512-60BF8EC37AA3}" destId="{F272787C-D1F5-442C-A4E2-3D78A67DF8B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A3F9BF-BA6F-4CB9-B4C1-016D652D4EDA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759837-CE7D-497D-9B26-B2D33CCD0E4F}">
      <dgm:prSet phldrT="[Text]" custT="1"/>
      <dgm:spPr>
        <a:solidFill>
          <a:srgbClr val="92D050"/>
        </a:solidFill>
      </dgm:spPr>
      <dgm:t>
        <a:bodyPr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Code Smells</a:t>
          </a:r>
        </a:p>
      </dgm:t>
    </dgm:pt>
    <dgm:pt modelId="{06F8F35D-0B32-4A26-A59D-58F933AD3E34}" type="parTrans" cxnId="{BDAD69D7-BBF9-4A33-A53F-E21FA96AFCDA}">
      <dgm:prSet/>
      <dgm:spPr/>
      <dgm:t>
        <a:bodyPr/>
        <a:lstStyle/>
        <a:p>
          <a:endParaRPr lang="en-US"/>
        </a:p>
      </dgm:t>
    </dgm:pt>
    <dgm:pt modelId="{AF1D555D-27F0-41F7-8ACE-2F9E6A9E35C5}" type="sibTrans" cxnId="{BDAD69D7-BBF9-4A33-A53F-E21FA96AFCDA}">
      <dgm:prSet custT="1"/>
      <dgm:spPr>
        <a:solidFill>
          <a:srgbClr val="FFCC66"/>
        </a:solidFill>
      </dgm:spPr>
      <dgm:t>
        <a:bodyPr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Defect Bugs</a:t>
          </a:r>
        </a:p>
      </dgm:t>
    </dgm:pt>
    <dgm:pt modelId="{26195381-0641-4F47-AB01-292592F5861E}">
      <dgm:prSet phldrT="[Text]" custT="1"/>
      <dgm:spPr>
        <a:solidFill>
          <a:srgbClr val="33CCCC"/>
        </a:solidFill>
      </dgm:spPr>
      <dgm:t>
        <a:bodyPr/>
        <a:lstStyle/>
        <a:p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Vulnerabilities</a:t>
          </a:r>
        </a:p>
      </dgm:t>
    </dgm:pt>
    <dgm:pt modelId="{028429AE-1537-40B9-88CF-D9C0E6E744D4}" type="parTrans" cxnId="{14643A4F-5D78-4099-B686-BCAD0F405929}">
      <dgm:prSet/>
      <dgm:spPr/>
      <dgm:t>
        <a:bodyPr/>
        <a:lstStyle/>
        <a:p>
          <a:endParaRPr lang="en-US"/>
        </a:p>
      </dgm:t>
    </dgm:pt>
    <dgm:pt modelId="{56BA8719-F162-483E-9264-567137536762}" type="sibTrans" cxnId="{14643A4F-5D78-4099-B686-BCAD0F405929}">
      <dgm:prSet custT="1"/>
      <dgm:spPr>
        <a:solidFill>
          <a:srgbClr val="FFC000"/>
        </a:solidFill>
      </dgm:spPr>
      <dgm:t>
        <a:bodyPr/>
        <a:lstStyle/>
        <a:p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Execution</a:t>
          </a:r>
        </a:p>
        <a:p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Path</a:t>
          </a:r>
        </a:p>
      </dgm:t>
    </dgm:pt>
    <dgm:pt modelId="{33FADFB0-9980-473B-AE7E-9310FA53654B}">
      <dgm:prSet phldrT="[Text]" custT="1"/>
      <dgm:spPr>
        <a:solidFill>
          <a:srgbClr val="FFFF00"/>
        </a:solidFill>
      </dgm:spPr>
      <dgm:t>
        <a:bodyPr/>
        <a:lstStyle/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Lines of Code</a:t>
          </a:r>
        </a:p>
      </dgm:t>
    </dgm:pt>
    <dgm:pt modelId="{B51125DD-DDA2-4B48-921A-92D07CCA07D2}" type="parTrans" cxnId="{B390A0A1-5901-4C79-AB8A-AC9C2E129835}">
      <dgm:prSet/>
      <dgm:spPr/>
      <dgm:t>
        <a:bodyPr/>
        <a:lstStyle/>
        <a:p>
          <a:endParaRPr lang="en-US"/>
        </a:p>
      </dgm:t>
    </dgm:pt>
    <dgm:pt modelId="{0A8A179A-18D4-4535-A7B5-0BD17112E685}" type="sibTrans" cxnId="{B390A0A1-5901-4C79-AB8A-AC9C2E129835}">
      <dgm:prSet custT="1"/>
      <dgm:spPr>
        <a:solidFill>
          <a:srgbClr val="FF9933"/>
        </a:solidFill>
      </dgm:spPr>
      <dgm:t>
        <a:bodyPr/>
        <a:lstStyle/>
        <a:p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Activate Rules</a:t>
          </a:r>
        </a:p>
      </dgm:t>
    </dgm:pt>
    <dgm:pt modelId="{6DFC7505-4E00-4266-9609-C96448BFC850}" type="pres">
      <dgm:prSet presAssocID="{89A3F9BF-BA6F-4CB9-B4C1-016D652D4EDA}" presName="Name0" presStyleCnt="0">
        <dgm:presLayoutVars>
          <dgm:chMax/>
          <dgm:chPref/>
          <dgm:dir/>
          <dgm:animLvl val="lvl"/>
        </dgm:presLayoutVars>
      </dgm:prSet>
      <dgm:spPr/>
    </dgm:pt>
    <dgm:pt modelId="{7625048D-18E5-4A45-9237-423ED907F3E6}" type="pres">
      <dgm:prSet presAssocID="{A7759837-CE7D-497D-9B26-B2D33CCD0E4F}" presName="composite" presStyleCnt="0"/>
      <dgm:spPr/>
    </dgm:pt>
    <dgm:pt modelId="{F2AACD4C-6420-4C45-A54E-C11EE4DE73B5}" type="pres">
      <dgm:prSet presAssocID="{A7759837-CE7D-497D-9B26-B2D33CCD0E4F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53864D27-958C-40E1-99A4-FB313BF950F4}" type="pres">
      <dgm:prSet presAssocID="{A7759837-CE7D-497D-9B26-B2D33CCD0E4F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9EC313B6-AB57-4EDE-A2CD-DF84233E21FE}" type="pres">
      <dgm:prSet presAssocID="{A7759837-CE7D-497D-9B26-B2D33CCD0E4F}" presName="BalanceSpacing" presStyleCnt="0"/>
      <dgm:spPr/>
    </dgm:pt>
    <dgm:pt modelId="{6B46E460-B433-4229-BE26-C6FA60E050BF}" type="pres">
      <dgm:prSet presAssocID="{A7759837-CE7D-497D-9B26-B2D33CCD0E4F}" presName="BalanceSpacing1" presStyleCnt="0"/>
      <dgm:spPr/>
    </dgm:pt>
    <dgm:pt modelId="{EB0696D0-770C-4658-BE98-A644821B00CB}" type="pres">
      <dgm:prSet presAssocID="{AF1D555D-27F0-41F7-8ACE-2F9E6A9E35C5}" presName="Accent1Text" presStyleLbl="node1" presStyleIdx="1" presStyleCnt="6"/>
      <dgm:spPr/>
    </dgm:pt>
    <dgm:pt modelId="{2F471A69-6CAC-4221-98EC-5923C23413DB}" type="pres">
      <dgm:prSet presAssocID="{AF1D555D-27F0-41F7-8ACE-2F9E6A9E35C5}" presName="spaceBetweenRectangles" presStyleCnt="0"/>
      <dgm:spPr/>
    </dgm:pt>
    <dgm:pt modelId="{E32D872C-AA9A-4047-A922-374FFC2F9344}" type="pres">
      <dgm:prSet presAssocID="{26195381-0641-4F47-AB01-292592F5861E}" presName="composite" presStyleCnt="0"/>
      <dgm:spPr/>
    </dgm:pt>
    <dgm:pt modelId="{5A9B2F89-524E-4536-A88B-01E32E71C4B7}" type="pres">
      <dgm:prSet presAssocID="{26195381-0641-4F47-AB01-292592F5861E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F19E12E0-D306-4C13-9C92-4282F4EA03AB}" type="pres">
      <dgm:prSet presAssocID="{26195381-0641-4F47-AB01-292592F5861E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6A5A6862-0F63-41CF-B8B3-D884B43699C1}" type="pres">
      <dgm:prSet presAssocID="{26195381-0641-4F47-AB01-292592F5861E}" presName="BalanceSpacing" presStyleCnt="0"/>
      <dgm:spPr/>
    </dgm:pt>
    <dgm:pt modelId="{BE8B648E-0934-40DC-A658-0A8989FDEC61}" type="pres">
      <dgm:prSet presAssocID="{26195381-0641-4F47-AB01-292592F5861E}" presName="BalanceSpacing1" presStyleCnt="0"/>
      <dgm:spPr/>
    </dgm:pt>
    <dgm:pt modelId="{2DB726A7-B474-48AC-A841-77134EED902D}" type="pres">
      <dgm:prSet presAssocID="{56BA8719-F162-483E-9264-567137536762}" presName="Accent1Text" presStyleLbl="node1" presStyleIdx="3" presStyleCnt="6"/>
      <dgm:spPr/>
    </dgm:pt>
    <dgm:pt modelId="{68C32B76-B513-46E6-BE83-D5207162B195}" type="pres">
      <dgm:prSet presAssocID="{56BA8719-F162-483E-9264-567137536762}" presName="spaceBetweenRectangles" presStyleCnt="0"/>
      <dgm:spPr/>
    </dgm:pt>
    <dgm:pt modelId="{7F8C84AC-F0BB-48F8-AF55-22780597CDD2}" type="pres">
      <dgm:prSet presAssocID="{33FADFB0-9980-473B-AE7E-9310FA53654B}" presName="composite" presStyleCnt="0"/>
      <dgm:spPr/>
    </dgm:pt>
    <dgm:pt modelId="{5C453B03-4F84-4F43-8C50-AC77C6348A2F}" type="pres">
      <dgm:prSet presAssocID="{33FADFB0-9980-473B-AE7E-9310FA53654B}" presName="Parent1" presStyleLbl="node1" presStyleIdx="4" presStyleCnt="6" custLinFactNeighborX="-4629" custLinFactNeighborY="-1941">
        <dgm:presLayoutVars>
          <dgm:chMax val="1"/>
          <dgm:chPref val="1"/>
          <dgm:bulletEnabled val="1"/>
        </dgm:presLayoutVars>
      </dgm:prSet>
      <dgm:spPr/>
    </dgm:pt>
    <dgm:pt modelId="{F0F263D8-4BFF-4854-B91C-E26C703C3A83}" type="pres">
      <dgm:prSet presAssocID="{33FADFB0-9980-473B-AE7E-9310FA53654B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E5F9844D-817A-4DAB-8936-A41359144F6A}" type="pres">
      <dgm:prSet presAssocID="{33FADFB0-9980-473B-AE7E-9310FA53654B}" presName="BalanceSpacing" presStyleCnt="0"/>
      <dgm:spPr/>
    </dgm:pt>
    <dgm:pt modelId="{8CFC4DB2-21AD-4B0B-BCC8-060BC018120B}" type="pres">
      <dgm:prSet presAssocID="{33FADFB0-9980-473B-AE7E-9310FA53654B}" presName="BalanceSpacing1" presStyleCnt="0"/>
      <dgm:spPr/>
    </dgm:pt>
    <dgm:pt modelId="{4CACB6B5-8F9E-4252-BC21-33763A5891CD}" type="pres">
      <dgm:prSet presAssocID="{0A8A179A-18D4-4535-A7B5-0BD17112E685}" presName="Accent1Text" presStyleLbl="node1" presStyleIdx="5" presStyleCnt="6" custLinFactNeighborX="-8494" custLinFactNeighborY="-1941"/>
      <dgm:spPr/>
    </dgm:pt>
  </dgm:ptLst>
  <dgm:cxnLst>
    <dgm:cxn modelId="{31153634-8049-4EEA-ADCC-668408372FD7}" type="presOf" srcId="{A7759837-CE7D-497D-9B26-B2D33CCD0E4F}" destId="{F2AACD4C-6420-4C45-A54E-C11EE4DE73B5}" srcOrd="0" destOrd="0" presId="urn:microsoft.com/office/officeart/2008/layout/AlternatingHexagons"/>
    <dgm:cxn modelId="{9660F738-CEF3-473D-8729-266AD851D7DD}" type="presOf" srcId="{0A8A179A-18D4-4535-A7B5-0BD17112E685}" destId="{4CACB6B5-8F9E-4252-BC21-33763A5891CD}" srcOrd="0" destOrd="0" presId="urn:microsoft.com/office/officeart/2008/layout/AlternatingHexagons"/>
    <dgm:cxn modelId="{14643A4F-5D78-4099-B686-BCAD0F405929}" srcId="{89A3F9BF-BA6F-4CB9-B4C1-016D652D4EDA}" destId="{26195381-0641-4F47-AB01-292592F5861E}" srcOrd="1" destOrd="0" parTransId="{028429AE-1537-40B9-88CF-D9C0E6E744D4}" sibTransId="{56BA8719-F162-483E-9264-567137536762}"/>
    <dgm:cxn modelId="{09454E96-4143-4EA9-AEA1-7FE05DA6B988}" type="presOf" srcId="{AF1D555D-27F0-41F7-8ACE-2F9E6A9E35C5}" destId="{EB0696D0-770C-4658-BE98-A644821B00CB}" srcOrd="0" destOrd="0" presId="urn:microsoft.com/office/officeart/2008/layout/AlternatingHexagons"/>
    <dgm:cxn modelId="{B390A0A1-5901-4C79-AB8A-AC9C2E129835}" srcId="{89A3F9BF-BA6F-4CB9-B4C1-016D652D4EDA}" destId="{33FADFB0-9980-473B-AE7E-9310FA53654B}" srcOrd="2" destOrd="0" parTransId="{B51125DD-DDA2-4B48-921A-92D07CCA07D2}" sibTransId="{0A8A179A-18D4-4535-A7B5-0BD17112E685}"/>
    <dgm:cxn modelId="{AD4BBDBD-8CA9-43B0-A975-246C9C5B4028}" type="presOf" srcId="{89A3F9BF-BA6F-4CB9-B4C1-016D652D4EDA}" destId="{6DFC7505-4E00-4266-9609-C96448BFC850}" srcOrd="0" destOrd="0" presId="urn:microsoft.com/office/officeart/2008/layout/AlternatingHexagons"/>
    <dgm:cxn modelId="{1D6DCFD3-39B7-4F04-9983-C6A39F66A508}" type="presOf" srcId="{33FADFB0-9980-473B-AE7E-9310FA53654B}" destId="{5C453B03-4F84-4F43-8C50-AC77C6348A2F}" srcOrd="0" destOrd="0" presId="urn:microsoft.com/office/officeart/2008/layout/AlternatingHexagons"/>
    <dgm:cxn modelId="{BDAD69D7-BBF9-4A33-A53F-E21FA96AFCDA}" srcId="{89A3F9BF-BA6F-4CB9-B4C1-016D652D4EDA}" destId="{A7759837-CE7D-497D-9B26-B2D33CCD0E4F}" srcOrd="0" destOrd="0" parTransId="{06F8F35D-0B32-4A26-A59D-58F933AD3E34}" sibTransId="{AF1D555D-27F0-41F7-8ACE-2F9E6A9E35C5}"/>
    <dgm:cxn modelId="{86C099E9-6833-43F9-A74E-B3D1ECF289A1}" type="presOf" srcId="{26195381-0641-4F47-AB01-292592F5861E}" destId="{5A9B2F89-524E-4536-A88B-01E32E71C4B7}" srcOrd="0" destOrd="0" presId="urn:microsoft.com/office/officeart/2008/layout/AlternatingHexagons"/>
    <dgm:cxn modelId="{C2929BEE-238A-4185-9009-4B263AE7BCE2}" type="presOf" srcId="{56BA8719-F162-483E-9264-567137536762}" destId="{2DB726A7-B474-48AC-A841-77134EED902D}" srcOrd="0" destOrd="0" presId="urn:microsoft.com/office/officeart/2008/layout/AlternatingHexagons"/>
    <dgm:cxn modelId="{EF8DADAB-DBAD-47D2-8A92-6E58D64E94E0}" type="presParOf" srcId="{6DFC7505-4E00-4266-9609-C96448BFC850}" destId="{7625048D-18E5-4A45-9237-423ED907F3E6}" srcOrd="0" destOrd="0" presId="urn:microsoft.com/office/officeart/2008/layout/AlternatingHexagons"/>
    <dgm:cxn modelId="{0DA0E5DA-CA23-418F-A34A-9E38E8954176}" type="presParOf" srcId="{7625048D-18E5-4A45-9237-423ED907F3E6}" destId="{F2AACD4C-6420-4C45-A54E-C11EE4DE73B5}" srcOrd="0" destOrd="0" presId="urn:microsoft.com/office/officeart/2008/layout/AlternatingHexagons"/>
    <dgm:cxn modelId="{9CF562B7-C973-442C-84EC-C27E2DE6A33D}" type="presParOf" srcId="{7625048D-18E5-4A45-9237-423ED907F3E6}" destId="{53864D27-958C-40E1-99A4-FB313BF950F4}" srcOrd="1" destOrd="0" presId="urn:microsoft.com/office/officeart/2008/layout/AlternatingHexagons"/>
    <dgm:cxn modelId="{DB720F97-F455-451F-830C-63F89E1B75F7}" type="presParOf" srcId="{7625048D-18E5-4A45-9237-423ED907F3E6}" destId="{9EC313B6-AB57-4EDE-A2CD-DF84233E21FE}" srcOrd="2" destOrd="0" presId="urn:microsoft.com/office/officeart/2008/layout/AlternatingHexagons"/>
    <dgm:cxn modelId="{3843269B-0864-4817-AC10-3C8200AAFACD}" type="presParOf" srcId="{7625048D-18E5-4A45-9237-423ED907F3E6}" destId="{6B46E460-B433-4229-BE26-C6FA60E050BF}" srcOrd="3" destOrd="0" presId="urn:microsoft.com/office/officeart/2008/layout/AlternatingHexagons"/>
    <dgm:cxn modelId="{6FD2B77C-C755-406C-86AE-DDD8C5F55F5D}" type="presParOf" srcId="{7625048D-18E5-4A45-9237-423ED907F3E6}" destId="{EB0696D0-770C-4658-BE98-A644821B00CB}" srcOrd="4" destOrd="0" presId="urn:microsoft.com/office/officeart/2008/layout/AlternatingHexagons"/>
    <dgm:cxn modelId="{DD449257-873B-481F-BCCD-10F8116681FD}" type="presParOf" srcId="{6DFC7505-4E00-4266-9609-C96448BFC850}" destId="{2F471A69-6CAC-4221-98EC-5923C23413DB}" srcOrd="1" destOrd="0" presId="urn:microsoft.com/office/officeart/2008/layout/AlternatingHexagons"/>
    <dgm:cxn modelId="{9177D825-2097-4FC2-BD54-1DB115324EEA}" type="presParOf" srcId="{6DFC7505-4E00-4266-9609-C96448BFC850}" destId="{E32D872C-AA9A-4047-A922-374FFC2F9344}" srcOrd="2" destOrd="0" presId="urn:microsoft.com/office/officeart/2008/layout/AlternatingHexagons"/>
    <dgm:cxn modelId="{D8CA5474-6BD6-4A54-AC31-F241816A7339}" type="presParOf" srcId="{E32D872C-AA9A-4047-A922-374FFC2F9344}" destId="{5A9B2F89-524E-4536-A88B-01E32E71C4B7}" srcOrd="0" destOrd="0" presId="urn:microsoft.com/office/officeart/2008/layout/AlternatingHexagons"/>
    <dgm:cxn modelId="{77FF35B7-8AD4-4190-A0A5-1A518541A40A}" type="presParOf" srcId="{E32D872C-AA9A-4047-A922-374FFC2F9344}" destId="{F19E12E0-D306-4C13-9C92-4282F4EA03AB}" srcOrd="1" destOrd="0" presId="urn:microsoft.com/office/officeart/2008/layout/AlternatingHexagons"/>
    <dgm:cxn modelId="{96722DFD-A5A4-4F37-A0E4-74B41FA0CD1D}" type="presParOf" srcId="{E32D872C-AA9A-4047-A922-374FFC2F9344}" destId="{6A5A6862-0F63-41CF-B8B3-D884B43699C1}" srcOrd="2" destOrd="0" presId="urn:microsoft.com/office/officeart/2008/layout/AlternatingHexagons"/>
    <dgm:cxn modelId="{1BD1F719-3C0C-43D3-80CA-5ED679393B69}" type="presParOf" srcId="{E32D872C-AA9A-4047-A922-374FFC2F9344}" destId="{BE8B648E-0934-40DC-A658-0A8989FDEC61}" srcOrd="3" destOrd="0" presId="urn:microsoft.com/office/officeart/2008/layout/AlternatingHexagons"/>
    <dgm:cxn modelId="{4645D4AC-A130-491A-AEF1-985E8378CE02}" type="presParOf" srcId="{E32D872C-AA9A-4047-A922-374FFC2F9344}" destId="{2DB726A7-B474-48AC-A841-77134EED902D}" srcOrd="4" destOrd="0" presId="urn:microsoft.com/office/officeart/2008/layout/AlternatingHexagons"/>
    <dgm:cxn modelId="{48D80B46-7003-4BCD-A733-84B0315FC38F}" type="presParOf" srcId="{6DFC7505-4E00-4266-9609-C96448BFC850}" destId="{68C32B76-B513-46E6-BE83-D5207162B195}" srcOrd="3" destOrd="0" presId="urn:microsoft.com/office/officeart/2008/layout/AlternatingHexagons"/>
    <dgm:cxn modelId="{5BC197CE-98F3-4DF2-A5B6-A0978B0FE96C}" type="presParOf" srcId="{6DFC7505-4E00-4266-9609-C96448BFC850}" destId="{7F8C84AC-F0BB-48F8-AF55-22780597CDD2}" srcOrd="4" destOrd="0" presId="urn:microsoft.com/office/officeart/2008/layout/AlternatingHexagons"/>
    <dgm:cxn modelId="{376DE43D-55F7-4E42-B4DE-AA7B05643F41}" type="presParOf" srcId="{7F8C84AC-F0BB-48F8-AF55-22780597CDD2}" destId="{5C453B03-4F84-4F43-8C50-AC77C6348A2F}" srcOrd="0" destOrd="0" presId="urn:microsoft.com/office/officeart/2008/layout/AlternatingHexagons"/>
    <dgm:cxn modelId="{E30BFCD2-3115-464C-831E-05E0D7E0EDF2}" type="presParOf" srcId="{7F8C84AC-F0BB-48F8-AF55-22780597CDD2}" destId="{F0F263D8-4BFF-4854-B91C-E26C703C3A83}" srcOrd="1" destOrd="0" presId="urn:microsoft.com/office/officeart/2008/layout/AlternatingHexagons"/>
    <dgm:cxn modelId="{48D120C9-70FC-49F0-AC5C-CAEA8A419A7E}" type="presParOf" srcId="{7F8C84AC-F0BB-48F8-AF55-22780597CDD2}" destId="{E5F9844D-817A-4DAB-8936-A41359144F6A}" srcOrd="2" destOrd="0" presId="urn:microsoft.com/office/officeart/2008/layout/AlternatingHexagons"/>
    <dgm:cxn modelId="{A43ACFE8-9277-4864-A93C-52AC6EA3698A}" type="presParOf" srcId="{7F8C84AC-F0BB-48F8-AF55-22780597CDD2}" destId="{8CFC4DB2-21AD-4B0B-BCC8-060BC018120B}" srcOrd="3" destOrd="0" presId="urn:microsoft.com/office/officeart/2008/layout/AlternatingHexagons"/>
    <dgm:cxn modelId="{7FC06AAC-6D35-4242-9443-16F49C8C9456}" type="presParOf" srcId="{7F8C84AC-F0BB-48F8-AF55-22780597CDD2}" destId="{4CACB6B5-8F9E-4252-BC21-33763A5891CD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393A70-868C-460C-B8F2-6F785257CCC7}" type="doc">
      <dgm:prSet loTypeId="urn:microsoft.com/office/officeart/2005/8/layout/defaul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7E56FF5-4F6B-4697-B715-041FDF76C93A}">
      <dgm:prSet phldrT="[Text]"/>
      <dgm:spPr>
        <a:solidFill>
          <a:srgbClr val="24FC24"/>
        </a:solidFill>
      </dgm:spPr>
      <dgm:t>
        <a:bodyPr/>
        <a:lstStyle/>
        <a:p>
          <a:r>
            <a:rPr lang="en-US" dirty="0"/>
            <a:t>Automated Code Analysis</a:t>
          </a:r>
        </a:p>
      </dgm:t>
    </dgm:pt>
    <dgm:pt modelId="{6418FEB1-D0BE-4922-BD70-38C638091C61}" type="parTrans" cxnId="{E831DC3A-C97B-4620-AE1C-4A691F820A2B}">
      <dgm:prSet/>
      <dgm:spPr/>
      <dgm:t>
        <a:bodyPr/>
        <a:lstStyle/>
        <a:p>
          <a:endParaRPr lang="en-US"/>
        </a:p>
      </dgm:t>
    </dgm:pt>
    <dgm:pt modelId="{2E3AD8AD-38F9-4AE0-93E5-5A612D1E8A56}" type="sibTrans" cxnId="{E831DC3A-C97B-4620-AE1C-4A691F820A2B}">
      <dgm:prSet/>
      <dgm:spPr/>
      <dgm:t>
        <a:bodyPr/>
        <a:lstStyle/>
        <a:p>
          <a:endParaRPr lang="en-US"/>
        </a:p>
      </dgm:t>
    </dgm:pt>
    <dgm:pt modelId="{0AC5224F-2E02-47C8-BB1A-0DA873E61042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Integrate GitHub</a:t>
          </a:r>
        </a:p>
      </dgm:t>
    </dgm:pt>
    <dgm:pt modelId="{79788A1F-CAF5-47DA-B52D-85CF1A459D55}" type="parTrans" cxnId="{05E7744F-37B6-4E16-A865-85E34315B738}">
      <dgm:prSet/>
      <dgm:spPr/>
      <dgm:t>
        <a:bodyPr/>
        <a:lstStyle/>
        <a:p>
          <a:endParaRPr lang="en-US"/>
        </a:p>
      </dgm:t>
    </dgm:pt>
    <dgm:pt modelId="{E6DF8A09-97B0-4C1B-96A2-4941EAA8D57D}" type="sibTrans" cxnId="{05E7744F-37B6-4E16-A865-85E34315B738}">
      <dgm:prSet/>
      <dgm:spPr/>
      <dgm:t>
        <a:bodyPr/>
        <a:lstStyle/>
        <a:p>
          <a:endParaRPr lang="en-US"/>
        </a:p>
      </dgm:t>
    </dgm:pt>
    <dgm:pt modelId="{3E0B7237-389E-4B47-B917-EFC2AD4A0003}">
      <dgm:prSet phldrT="[Text]"/>
      <dgm:spPr>
        <a:solidFill>
          <a:srgbClr val="33CCCC"/>
        </a:solidFill>
      </dgm:spPr>
      <dgm:t>
        <a:bodyPr/>
        <a:lstStyle/>
        <a:p>
          <a:r>
            <a:rPr lang="en-US" dirty="0"/>
            <a:t>Access through    web-hooks &amp; API</a:t>
          </a:r>
        </a:p>
      </dgm:t>
    </dgm:pt>
    <dgm:pt modelId="{6B87CC3B-AFF2-4FF1-BA18-CFFA11102A70}" type="parTrans" cxnId="{0819889E-3B0C-4202-B251-907AC224DF30}">
      <dgm:prSet/>
      <dgm:spPr/>
      <dgm:t>
        <a:bodyPr/>
        <a:lstStyle/>
        <a:p>
          <a:endParaRPr lang="en-US"/>
        </a:p>
      </dgm:t>
    </dgm:pt>
    <dgm:pt modelId="{46824525-1B9E-4AEB-91E4-EB6D813FAC97}" type="sibTrans" cxnId="{0819889E-3B0C-4202-B251-907AC224DF30}">
      <dgm:prSet/>
      <dgm:spPr/>
      <dgm:t>
        <a:bodyPr/>
        <a:lstStyle/>
        <a:p>
          <a:endParaRPr lang="en-US"/>
        </a:p>
      </dgm:t>
    </dgm:pt>
    <dgm:pt modelId="{52A81AAD-A54D-48AD-9944-9DC089794E24}">
      <dgm:prSet phldrT="[Text]"/>
      <dgm:spPr>
        <a:solidFill>
          <a:srgbClr val="FF6600"/>
        </a:solidFill>
      </dgm:spPr>
      <dgm:t>
        <a:bodyPr/>
        <a:lstStyle/>
        <a:p>
          <a:r>
            <a:rPr lang="en-US" dirty="0" err="1"/>
            <a:t>Analyse</a:t>
          </a:r>
          <a:r>
            <a:rPr lang="en-US" dirty="0"/>
            <a:t> Code branches</a:t>
          </a:r>
        </a:p>
      </dgm:t>
    </dgm:pt>
    <dgm:pt modelId="{A294B308-743D-4A45-BC35-B0A4E9B00B4B}" type="parTrans" cxnId="{0F7F8B54-2A7F-4E14-A706-A6985AEBEBCE}">
      <dgm:prSet/>
      <dgm:spPr/>
      <dgm:t>
        <a:bodyPr/>
        <a:lstStyle/>
        <a:p>
          <a:endParaRPr lang="en-US"/>
        </a:p>
      </dgm:t>
    </dgm:pt>
    <dgm:pt modelId="{3F8381C4-3F42-42F3-9C42-E2FA9D048DC5}" type="sibTrans" cxnId="{0F7F8B54-2A7F-4E14-A706-A6985AEBEBCE}">
      <dgm:prSet/>
      <dgm:spPr/>
      <dgm:t>
        <a:bodyPr/>
        <a:lstStyle/>
        <a:p>
          <a:endParaRPr lang="en-US"/>
        </a:p>
      </dgm:t>
    </dgm:pt>
    <dgm:pt modelId="{740567DE-D539-4DD8-B3FE-A2FD0C52D0D8}" type="pres">
      <dgm:prSet presAssocID="{2E393A70-868C-460C-B8F2-6F785257CCC7}" presName="diagram" presStyleCnt="0">
        <dgm:presLayoutVars>
          <dgm:dir/>
          <dgm:resizeHandles val="exact"/>
        </dgm:presLayoutVars>
      </dgm:prSet>
      <dgm:spPr/>
    </dgm:pt>
    <dgm:pt modelId="{A49CA62B-24EC-4ED0-ABB0-6CC529B49901}" type="pres">
      <dgm:prSet presAssocID="{97E56FF5-4F6B-4697-B715-041FDF76C93A}" presName="node" presStyleLbl="node1" presStyleIdx="0" presStyleCnt="4">
        <dgm:presLayoutVars>
          <dgm:bulletEnabled val="1"/>
        </dgm:presLayoutVars>
      </dgm:prSet>
      <dgm:spPr/>
    </dgm:pt>
    <dgm:pt modelId="{628242B2-8B80-460B-B28A-B54D6158CC29}" type="pres">
      <dgm:prSet presAssocID="{2E3AD8AD-38F9-4AE0-93E5-5A612D1E8A56}" presName="sibTrans" presStyleCnt="0"/>
      <dgm:spPr/>
    </dgm:pt>
    <dgm:pt modelId="{FB288C42-3E58-4A12-A6FE-FA06471CE99D}" type="pres">
      <dgm:prSet presAssocID="{0AC5224F-2E02-47C8-BB1A-0DA873E61042}" presName="node" presStyleLbl="node1" presStyleIdx="1" presStyleCnt="4">
        <dgm:presLayoutVars>
          <dgm:bulletEnabled val="1"/>
        </dgm:presLayoutVars>
      </dgm:prSet>
      <dgm:spPr/>
    </dgm:pt>
    <dgm:pt modelId="{8B879867-BD96-4319-836E-841527D4DA67}" type="pres">
      <dgm:prSet presAssocID="{E6DF8A09-97B0-4C1B-96A2-4941EAA8D57D}" presName="sibTrans" presStyleCnt="0"/>
      <dgm:spPr/>
    </dgm:pt>
    <dgm:pt modelId="{22669C37-E6C2-457F-8BA2-7074AF040D45}" type="pres">
      <dgm:prSet presAssocID="{3E0B7237-389E-4B47-B917-EFC2AD4A0003}" presName="node" presStyleLbl="node1" presStyleIdx="2" presStyleCnt="4">
        <dgm:presLayoutVars>
          <dgm:bulletEnabled val="1"/>
        </dgm:presLayoutVars>
      </dgm:prSet>
      <dgm:spPr/>
    </dgm:pt>
    <dgm:pt modelId="{9E9BD634-8DD8-4AB5-A520-96E94CC0DAB0}" type="pres">
      <dgm:prSet presAssocID="{46824525-1B9E-4AEB-91E4-EB6D813FAC97}" presName="sibTrans" presStyleCnt="0"/>
      <dgm:spPr/>
    </dgm:pt>
    <dgm:pt modelId="{D6114D1A-9C95-4FBF-A3A6-6D372ED6B154}" type="pres">
      <dgm:prSet presAssocID="{52A81AAD-A54D-48AD-9944-9DC089794E24}" presName="node" presStyleLbl="node1" presStyleIdx="3" presStyleCnt="4">
        <dgm:presLayoutVars>
          <dgm:bulletEnabled val="1"/>
        </dgm:presLayoutVars>
      </dgm:prSet>
      <dgm:spPr/>
    </dgm:pt>
  </dgm:ptLst>
  <dgm:cxnLst>
    <dgm:cxn modelId="{E831DC3A-C97B-4620-AE1C-4A691F820A2B}" srcId="{2E393A70-868C-460C-B8F2-6F785257CCC7}" destId="{97E56FF5-4F6B-4697-B715-041FDF76C93A}" srcOrd="0" destOrd="0" parTransId="{6418FEB1-D0BE-4922-BD70-38C638091C61}" sibTransId="{2E3AD8AD-38F9-4AE0-93E5-5A612D1E8A56}"/>
    <dgm:cxn modelId="{5F7CB460-3F79-478E-A892-244C73F9BB52}" type="presOf" srcId="{0AC5224F-2E02-47C8-BB1A-0DA873E61042}" destId="{FB288C42-3E58-4A12-A6FE-FA06471CE99D}" srcOrd="0" destOrd="0" presId="urn:microsoft.com/office/officeart/2005/8/layout/default"/>
    <dgm:cxn modelId="{05E7744F-37B6-4E16-A865-85E34315B738}" srcId="{2E393A70-868C-460C-B8F2-6F785257CCC7}" destId="{0AC5224F-2E02-47C8-BB1A-0DA873E61042}" srcOrd="1" destOrd="0" parTransId="{79788A1F-CAF5-47DA-B52D-85CF1A459D55}" sibTransId="{E6DF8A09-97B0-4C1B-96A2-4941EAA8D57D}"/>
    <dgm:cxn modelId="{0F7F8B54-2A7F-4E14-A706-A6985AEBEBCE}" srcId="{2E393A70-868C-460C-B8F2-6F785257CCC7}" destId="{52A81AAD-A54D-48AD-9944-9DC089794E24}" srcOrd="3" destOrd="0" parTransId="{A294B308-743D-4A45-BC35-B0A4E9B00B4B}" sibTransId="{3F8381C4-3F42-42F3-9C42-E2FA9D048DC5}"/>
    <dgm:cxn modelId="{109A3C85-6D72-4F9C-A6B4-D092EC660E97}" type="presOf" srcId="{52A81AAD-A54D-48AD-9944-9DC089794E24}" destId="{D6114D1A-9C95-4FBF-A3A6-6D372ED6B154}" srcOrd="0" destOrd="0" presId="urn:microsoft.com/office/officeart/2005/8/layout/default"/>
    <dgm:cxn modelId="{0819889E-3B0C-4202-B251-907AC224DF30}" srcId="{2E393A70-868C-460C-B8F2-6F785257CCC7}" destId="{3E0B7237-389E-4B47-B917-EFC2AD4A0003}" srcOrd="2" destOrd="0" parTransId="{6B87CC3B-AFF2-4FF1-BA18-CFFA11102A70}" sibTransId="{46824525-1B9E-4AEB-91E4-EB6D813FAC97}"/>
    <dgm:cxn modelId="{715365DD-77CA-421C-BA72-2940B19B323E}" type="presOf" srcId="{97E56FF5-4F6B-4697-B715-041FDF76C93A}" destId="{A49CA62B-24EC-4ED0-ABB0-6CC529B49901}" srcOrd="0" destOrd="0" presId="urn:microsoft.com/office/officeart/2005/8/layout/default"/>
    <dgm:cxn modelId="{39F354EA-0309-44B7-826C-EB80F76F4FCE}" type="presOf" srcId="{3E0B7237-389E-4B47-B917-EFC2AD4A0003}" destId="{22669C37-E6C2-457F-8BA2-7074AF040D45}" srcOrd="0" destOrd="0" presId="urn:microsoft.com/office/officeart/2005/8/layout/default"/>
    <dgm:cxn modelId="{94F4DEED-FAAE-4E7A-8E28-B53E228F4217}" type="presOf" srcId="{2E393A70-868C-460C-B8F2-6F785257CCC7}" destId="{740567DE-D539-4DD8-B3FE-A2FD0C52D0D8}" srcOrd="0" destOrd="0" presId="urn:microsoft.com/office/officeart/2005/8/layout/default"/>
    <dgm:cxn modelId="{29A4B3BA-3DFE-4709-90A1-192B1BBD5803}" type="presParOf" srcId="{740567DE-D539-4DD8-B3FE-A2FD0C52D0D8}" destId="{A49CA62B-24EC-4ED0-ABB0-6CC529B49901}" srcOrd="0" destOrd="0" presId="urn:microsoft.com/office/officeart/2005/8/layout/default"/>
    <dgm:cxn modelId="{D6E89402-3B04-4F46-80B1-EA7337FC6AF7}" type="presParOf" srcId="{740567DE-D539-4DD8-B3FE-A2FD0C52D0D8}" destId="{628242B2-8B80-460B-B28A-B54D6158CC29}" srcOrd="1" destOrd="0" presId="urn:microsoft.com/office/officeart/2005/8/layout/default"/>
    <dgm:cxn modelId="{E83C3D8F-4CFB-4BC3-9B21-DCE4FBECA7B1}" type="presParOf" srcId="{740567DE-D539-4DD8-B3FE-A2FD0C52D0D8}" destId="{FB288C42-3E58-4A12-A6FE-FA06471CE99D}" srcOrd="2" destOrd="0" presId="urn:microsoft.com/office/officeart/2005/8/layout/default"/>
    <dgm:cxn modelId="{E03214A2-9224-4F9A-A5D8-C7C951B89BBC}" type="presParOf" srcId="{740567DE-D539-4DD8-B3FE-A2FD0C52D0D8}" destId="{8B879867-BD96-4319-836E-841527D4DA67}" srcOrd="3" destOrd="0" presId="urn:microsoft.com/office/officeart/2005/8/layout/default"/>
    <dgm:cxn modelId="{16A5F3AA-6C18-4BB1-8E56-0B2AB7D607F9}" type="presParOf" srcId="{740567DE-D539-4DD8-B3FE-A2FD0C52D0D8}" destId="{22669C37-E6C2-457F-8BA2-7074AF040D45}" srcOrd="4" destOrd="0" presId="urn:microsoft.com/office/officeart/2005/8/layout/default"/>
    <dgm:cxn modelId="{7050510B-E30C-42EB-BF44-68913D3851D8}" type="presParOf" srcId="{740567DE-D539-4DD8-B3FE-A2FD0C52D0D8}" destId="{9E9BD634-8DD8-4AB5-A520-96E94CC0DAB0}" srcOrd="5" destOrd="0" presId="urn:microsoft.com/office/officeart/2005/8/layout/default"/>
    <dgm:cxn modelId="{F3731FCF-F5D3-4233-894C-33227A18A33C}" type="presParOf" srcId="{740567DE-D539-4DD8-B3FE-A2FD0C52D0D8}" destId="{D6114D1A-9C95-4FBF-A3A6-6D372ED6B154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528501-7669-4459-B2DA-66FF7C264FF3}">
      <dsp:nvSpPr>
        <dsp:cNvPr id="0" name=""/>
        <dsp:cNvSpPr/>
      </dsp:nvSpPr>
      <dsp:spPr>
        <a:xfrm>
          <a:off x="0" y="203643"/>
          <a:ext cx="7898296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A3B61F-B019-4DC1-8FB4-EC556C032AB6}">
      <dsp:nvSpPr>
        <dsp:cNvPr id="0" name=""/>
        <dsp:cNvSpPr/>
      </dsp:nvSpPr>
      <dsp:spPr>
        <a:xfrm>
          <a:off x="394914" y="15698"/>
          <a:ext cx="5528807" cy="675024"/>
        </a:xfrm>
        <a:prstGeom prst="round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976" tIns="0" rIns="208976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ind errors earlier in the development</a:t>
          </a:r>
        </a:p>
      </dsp:txBody>
      <dsp:txXfrm>
        <a:off x="427866" y="48650"/>
        <a:ext cx="5462903" cy="609120"/>
      </dsp:txXfrm>
    </dsp:sp>
    <dsp:sp modelId="{50FC431E-81F2-4159-9687-E082A52CCF90}">
      <dsp:nvSpPr>
        <dsp:cNvPr id="0" name=""/>
        <dsp:cNvSpPr/>
      </dsp:nvSpPr>
      <dsp:spPr>
        <a:xfrm>
          <a:off x="0" y="1376254"/>
          <a:ext cx="7898296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1D6E1C-F505-4EE1-ABD8-F416FF35F8D1}">
      <dsp:nvSpPr>
        <dsp:cNvPr id="0" name=""/>
        <dsp:cNvSpPr/>
      </dsp:nvSpPr>
      <dsp:spPr>
        <a:xfrm>
          <a:off x="394914" y="1213443"/>
          <a:ext cx="5528807" cy="649891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976" tIns="0" rIns="208976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inds security errors &amp; Detects over complexity in code</a:t>
          </a:r>
        </a:p>
      </dsp:txBody>
      <dsp:txXfrm>
        <a:off x="426639" y="1245168"/>
        <a:ext cx="5465357" cy="586441"/>
      </dsp:txXfrm>
    </dsp:sp>
    <dsp:sp modelId="{EE0ECA0A-8C32-4EAF-A78E-B12EB714C78E}">
      <dsp:nvSpPr>
        <dsp:cNvPr id="0" name=""/>
        <dsp:cNvSpPr/>
      </dsp:nvSpPr>
      <dsp:spPr>
        <a:xfrm>
          <a:off x="0" y="2569050"/>
          <a:ext cx="7898296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17CBAF-2B4F-4778-8D4A-45C97DB73230}">
      <dsp:nvSpPr>
        <dsp:cNvPr id="0" name=""/>
        <dsp:cNvSpPr/>
      </dsp:nvSpPr>
      <dsp:spPr>
        <a:xfrm>
          <a:off x="394914" y="2386054"/>
          <a:ext cx="5528807" cy="670075"/>
        </a:xfrm>
        <a:prstGeom prst="roundRect">
          <a:avLst/>
        </a:prstGeom>
        <a:solidFill>
          <a:srgbClr val="33CC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976" tIns="0" rIns="208976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nforces best coding practices</a:t>
          </a:r>
        </a:p>
      </dsp:txBody>
      <dsp:txXfrm>
        <a:off x="427624" y="2418764"/>
        <a:ext cx="5463387" cy="604655"/>
      </dsp:txXfrm>
    </dsp:sp>
    <dsp:sp modelId="{F272787C-D1F5-442C-A4E2-3D78A67DF8B2}">
      <dsp:nvSpPr>
        <dsp:cNvPr id="0" name=""/>
        <dsp:cNvSpPr/>
      </dsp:nvSpPr>
      <dsp:spPr>
        <a:xfrm>
          <a:off x="0" y="3830719"/>
          <a:ext cx="7898296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D32FE8-67B2-4DE5-8FEB-0E746ED091DB}">
      <dsp:nvSpPr>
        <dsp:cNvPr id="0" name=""/>
        <dsp:cNvSpPr/>
      </dsp:nvSpPr>
      <dsp:spPr>
        <a:xfrm>
          <a:off x="394914" y="3537283"/>
          <a:ext cx="5528807" cy="738949"/>
        </a:xfrm>
        <a:prstGeom prst="roundRect">
          <a:avLst/>
        </a:prstGeom>
        <a:solidFill>
          <a:srgbClr val="FF66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8976" tIns="0" rIns="208976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utomate &amp; </a:t>
          </a:r>
          <a:r>
            <a:rPr lang="en-US" sz="1800" kern="1200" dirty="0" err="1"/>
            <a:t>Interate</a:t>
          </a:r>
          <a:r>
            <a:rPr lang="en-US" sz="1800" kern="1200" dirty="0"/>
            <a:t> in Jenkins</a:t>
          </a:r>
        </a:p>
      </dsp:txBody>
      <dsp:txXfrm>
        <a:off x="430987" y="3573356"/>
        <a:ext cx="5456661" cy="6668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AACD4C-6420-4C45-A54E-C11EE4DE73B5}">
      <dsp:nvSpPr>
        <dsp:cNvPr id="0" name=""/>
        <dsp:cNvSpPr/>
      </dsp:nvSpPr>
      <dsp:spPr>
        <a:xfrm rot="5400000">
          <a:off x="2965556" y="106139"/>
          <a:ext cx="1595753" cy="1388305"/>
        </a:xfrm>
        <a:prstGeom prst="hexagon">
          <a:avLst>
            <a:gd name="adj" fmla="val 25000"/>
            <a:gd name="vf" fmla="val 11547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Code Smells</a:t>
          </a:r>
        </a:p>
      </dsp:txBody>
      <dsp:txXfrm rot="-5400000">
        <a:off x="3285624" y="251088"/>
        <a:ext cx="955617" cy="1098410"/>
      </dsp:txXfrm>
    </dsp:sp>
    <dsp:sp modelId="{53864D27-958C-40E1-99A4-FB313BF950F4}">
      <dsp:nvSpPr>
        <dsp:cNvPr id="0" name=""/>
        <dsp:cNvSpPr/>
      </dsp:nvSpPr>
      <dsp:spPr>
        <a:xfrm>
          <a:off x="4499713" y="321566"/>
          <a:ext cx="1780860" cy="9574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0696D0-770C-4658-BE98-A644821B00CB}">
      <dsp:nvSpPr>
        <dsp:cNvPr id="0" name=""/>
        <dsp:cNvSpPr/>
      </dsp:nvSpPr>
      <dsp:spPr>
        <a:xfrm rot="5400000">
          <a:off x="1466186" y="106139"/>
          <a:ext cx="1595753" cy="1388305"/>
        </a:xfrm>
        <a:prstGeom prst="hexagon">
          <a:avLst>
            <a:gd name="adj" fmla="val 25000"/>
            <a:gd name="vf" fmla="val 115470"/>
          </a:avLst>
        </a:prstGeom>
        <a:solidFill>
          <a:srgbClr val="FFCC6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Defect Bugs</a:t>
          </a:r>
        </a:p>
      </dsp:txBody>
      <dsp:txXfrm rot="-5400000">
        <a:off x="1786254" y="251088"/>
        <a:ext cx="955617" cy="1098410"/>
      </dsp:txXfrm>
    </dsp:sp>
    <dsp:sp modelId="{5A9B2F89-524E-4536-A88B-01E32E71C4B7}">
      <dsp:nvSpPr>
        <dsp:cNvPr id="0" name=""/>
        <dsp:cNvSpPr/>
      </dsp:nvSpPr>
      <dsp:spPr>
        <a:xfrm rot="5400000">
          <a:off x="2212998" y="1460614"/>
          <a:ext cx="1595753" cy="1388305"/>
        </a:xfrm>
        <a:prstGeom prst="hexagon">
          <a:avLst>
            <a:gd name="adj" fmla="val 25000"/>
            <a:gd name="vf" fmla="val 115470"/>
          </a:avLst>
        </a:prstGeom>
        <a:solidFill>
          <a:srgbClr val="33CC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Vulnerabilities</a:t>
          </a:r>
        </a:p>
      </dsp:txBody>
      <dsp:txXfrm rot="-5400000">
        <a:off x="2533066" y="1605563"/>
        <a:ext cx="955617" cy="1098410"/>
      </dsp:txXfrm>
    </dsp:sp>
    <dsp:sp modelId="{F19E12E0-D306-4C13-9C92-4282F4EA03AB}">
      <dsp:nvSpPr>
        <dsp:cNvPr id="0" name=""/>
        <dsp:cNvSpPr/>
      </dsp:nvSpPr>
      <dsp:spPr>
        <a:xfrm>
          <a:off x="535862" y="1676041"/>
          <a:ext cx="1723413" cy="9574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B726A7-B474-48AC-A841-77134EED902D}">
      <dsp:nvSpPr>
        <dsp:cNvPr id="0" name=""/>
        <dsp:cNvSpPr/>
      </dsp:nvSpPr>
      <dsp:spPr>
        <a:xfrm rot="5400000">
          <a:off x="3712368" y="1460614"/>
          <a:ext cx="1595753" cy="1388305"/>
        </a:xfrm>
        <a:prstGeom prst="hexagon">
          <a:avLst>
            <a:gd name="adj" fmla="val 25000"/>
            <a:gd name="vf" fmla="val 11547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Execut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Path</a:t>
          </a:r>
        </a:p>
      </dsp:txBody>
      <dsp:txXfrm rot="-5400000">
        <a:off x="4032436" y="1605563"/>
        <a:ext cx="955617" cy="1098410"/>
      </dsp:txXfrm>
    </dsp:sp>
    <dsp:sp modelId="{5C453B03-4F84-4F43-8C50-AC77C6348A2F}">
      <dsp:nvSpPr>
        <dsp:cNvPr id="0" name=""/>
        <dsp:cNvSpPr/>
      </dsp:nvSpPr>
      <dsp:spPr>
        <a:xfrm rot="5400000">
          <a:off x="2901291" y="2784116"/>
          <a:ext cx="1595753" cy="1388305"/>
        </a:xfrm>
        <a:prstGeom prst="hexagon">
          <a:avLst>
            <a:gd name="adj" fmla="val 25000"/>
            <a:gd name="vf" fmla="val 115470"/>
          </a:avLst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Lines of Code</a:t>
          </a:r>
        </a:p>
      </dsp:txBody>
      <dsp:txXfrm rot="-5400000">
        <a:off x="3221359" y="2929065"/>
        <a:ext cx="955617" cy="1098410"/>
      </dsp:txXfrm>
    </dsp:sp>
    <dsp:sp modelId="{F0F263D8-4BFF-4854-B91C-E26C703C3A83}">
      <dsp:nvSpPr>
        <dsp:cNvPr id="0" name=""/>
        <dsp:cNvSpPr/>
      </dsp:nvSpPr>
      <dsp:spPr>
        <a:xfrm>
          <a:off x="4499713" y="3030516"/>
          <a:ext cx="1780860" cy="9574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ACB6B5-8F9E-4252-BC21-33763A5891CD}">
      <dsp:nvSpPr>
        <dsp:cNvPr id="0" name=""/>
        <dsp:cNvSpPr/>
      </dsp:nvSpPr>
      <dsp:spPr>
        <a:xfrm rot="5400000">
          <a:off x="1348263" y="2784116"/>
          <a:ext cx="1595753" cy="1388305"/>
        </a:xfrm>
        <a:prstGeom prst="hexagon">
          <a:avLst>
            <a:gd name="adj" fmla="val 25000"/>
            <a:gd name="vf" fmla="val 115470"/>
          </a:avLst>
        </a:prstGeom>
        <a:solidFill>
          <a:srgbClr val="FF9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/>
              <a:ea typeface="+mn-ea"/>
              <a:cs typeface="+mn-cs"/>
            </a:rPr>
            <a:t>Activate Rules</a:t>
          </a:r>
        </a:p>
      </dsp:txBody>
      <dsp:txXfrm rot="-5400000">
        <a:off x="1668331" y="2929065"/>
        <a:ext cx="955617" cy="10984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9CA62B-24EC-4ED0-ABB0-6CC529B49901}">
      <dsp:nvSpPr>
        <dsp:cNvPr id="0" name=""/>
        <dsp:cNvSpPr/>
      </dsp:nvSpPr>
      <dsp:spPr>
        <a:xfrm>
          <a:off x="32309" y="1325"/>
          <a:ext cx="3217663" cy="1930598"/>
        </a:xfrm>
        <a:prstGeom prst="rect">
          <a:avLst/>
        </a:prstGeom>
        <a:solidFill>
          <a:srgbClr val="24FC2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utomated Code Analysis</a:t>
          </a:r>
        </a:p>
      </dsp:txBody>
      <dsp:txXfrm>
        <a:off x="32309" y="1325"/>
        <a:ext cx="3217663" cy="1930598"/>
      </dsp:txXfrm>
    </dsp:sp>
    <dsp:sp modelId="{FB288C42-3E58-4A12-A6FE-FA06471CE99D}">
      <dsp:nvSpPr>
        <dsp:cNvPr id="0" name=""/>
        <dsp:cNvSpPr/>
      </dsp:nvSpPr>
      <dsp:spPr>
        <a:xfrm>
          <a:off x="3571739" y="1325"/>
          <a:ext cx="3217663" cy="1930598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Integrate GitHub</a:t>
          </a:r>
        </a:p>
      </dsp:txBody>
      <dsp:txXfrm>
        <a:off x="3571739" y="1325"/>
        <a:ext cx="3217663" cy="1930598"/>
      </dsp:txXfrm>
    </dsp:sp>
    <dsp:sp modelId="{22669C37-E6C2-457F-8BA2-7074AF040D45}">
      <dsp:nvSpPr>
        <dsp:cNvPr id="0" name=""/>
        <dsp:cNvSpPr/>
      </dsp:nvSpPr>
      <dsp:spPr>
        <a:xfrm>
          <a:off x="32309" y="2253689"/>
          <a:ext cx="3217663" cy="1930598"/>
        </a:xfrm>
        <a:prstGeom prst="rect">
          <a:avLst/>
        </a:prstGeom>
        <a:solidFill>
          <a:srgbClr val="33CCCC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ccess through    web-hooks &amp; API</a:t>
          </a:r>
        </a:p>
      </dsp:txBody>
      <dsp:txXfrm>
        <a:off x="32309" y="2253689"/>
        <a:ext cx="3217663" cy="1930598"/>
      </dsp:txXfrm>
    </dsp:sp>
    <dsp:sp modelId="{D6114D1A-9C95-4FBF-A3A6-6D372ED6B154}">
      <dsp:nvSpPr>
        <dsp:cNvPr id="0" name=""/>
        <dsp:cNvSpPr/>
      </dsp:nvSpPr>
      <dsp:spPr>
        <a:xfrm>
          <a:off x="3571739" y="2253689"/>
          <a:ext cx="3217663" cy="1930598"/>
        </a:xfrm>
        <a:prstGeom prst="rect">
          <a:avLst/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 err="1"/>
            <a:t>Analyse</a:t>
          </a:r>
          <a:r>
            <a:rPr lang="en-US" sz="3700" kern="1200" dirty="0"/>
            <a:t> Code branches</a:t>
          </a:r>
        </a:p>
      </dsp:txBody>
      <dsp:txXfrm>
        <a:off x="3571739" y="2253689"/>
        <a:ext cx="3217663" cy="19305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6DCAB9-F974-4F76-8F9E-4BA869CEE33B}" type="datetimeFigureOut">
              <a:rPr lang="en-IN" smtClean="0"/>
              <a:t>16-06-2021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7FC059-0EE1-4B37-8208-41727DEAE99D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90808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7FC059-0EE1-4B37-8208-41727DEAE99D}" type="slidenum">
              <a:rPr lang="en-IN" smtClean="0"/>
              <a:t>20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7546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7FC059-0EE1-4B37-8208-41727DEAE99D}" type="slidenum">
              <a:rPr lang="en-IN" smtClean="0"/>
              <a:t>2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27750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7FC059-0EE1-4B37-8208-41727DEAE99D}" type="slidenum">
              <a:rPr lang="en-IN" smtClean="0"/>
              <a:t>2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5256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7FC059-0EE1-4B37-8208-41727DEAE99D}" type="slidenum">
              <a:rPr lang="en-IN" smtClean="0"/>
              <a:t>2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48058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JzfmzTcVUJg" TargetMode="External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hyperlink" Target="https://www.youtube.com/watch?v=JzfmzTcVUJg" TargetMode="External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HCL_Background.jp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92"/>
          <a:stretch/>
        </p:blipFill>
        <p:spPr>
          <a:xfrm>
            <a:off x="0" y="2853"/>
            <a:ext cx="12192000" cy="6855148"/>
          </a:xfrm>
          <a:prstGeom prst="rect">
            <a:avLst/>
          </a:prstGeom>
        </p:spPr>
      </p:pic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1000" y="2590800"/>
            <a:ext cx="3469340" cy="1143000"/>
          </a:xfrm>
        </p:spPr>
        <p:txBody>
          <a:bodyPr lIns="91440" rIns="91440" anchor="ctr" anchorCtr="0"/>
          <a:lstStyle>
            <a:lvl1pPr algn="l">
              <a:lnSpc>
                <a:spcPct val="100000"/>
              </a:lnSpc>
              <a:defRPr sz="18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57200" y="3962400"/>
            <a:ext cx="3393139" cy="609600"/>
          </a:xfrm>
        </p:spPr>
        <p:txBody>
          <a:bodyPr/>
          <a:lstStyle>
            <a:lvl1pPr marL="0" indent="0" algn="l">
              <a:buFont typeface="Wingdings 2" pitchFamily="18" charset="2"/>
              <a:buNone/>
              <a:defRPr sz="14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/>
          <a:srcRect r="11879"/>
          <a:stretch/>
        </p:blipFill>
        <p:spPr>
          <a:xfrm>
            <a:off x="2038351" y="9480"/>
            <a:ext cx="2025649" cy="172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06929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9C031F10-BDE8-4D25-9C46-A057A59057C6}" type="datetime1">
              <a:rPr lang="en-US" smtClean="0"/>
              <a:pPr/>
              <a:t>6/1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fld id="{0B491FB4-905F-488C-AD01-09867DFAF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martArt Placeholder 5"/>
          <p:cNvSpPr>
            <a:spLocks noGrp="1"/>
          </p:cNvSpPr>
          <p:nvPr>
            <p:ph type="dgm" sz="quarter" idx="12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600" y="228600"/>
            <a:ext cx="0" cy="76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88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675723"/>
          </a:xfrm>
          <a:prstGeom prst="rect">
            <a:avLst/>
          </a:prstGeom>
        </p:spPr>
      </p:pic>
      <p:sp>
        <p:nvSpPr>
          <p:cNvPr id="4" name="Freeform 8"/>
          <p:cNvSpPr>
            <a:spLocks noChangeAspect="1"/>
          </p:cNvSpPr>
          <p:nvPr userDrawn="1"/>
        </p:nvSpPr>
        <p:spPr bwMode="auto">
          <a:xfrm>
            <a:off x="0" y="4562476"/>
            <a:ext cx="12192000" cy="263525"/>
          </a:xfrm>
          <a:custGeom>
            <a:avLst/>
            <a:gdLst>
              <a:gd name="T0" fmla="*/ 2147483647 w 6803"/>
              <a:gd name="T1" fmla="*/ 0 h 196"/>
              <a:gd name="T2" fmla="*/ 0 w 6803"/>
              <a:gd name="T3" fmla="*/ 0 h 196"/>
              <a:gd name="T4" fmla="*/ 0 w 6803"/>
              <a:gd name="T5" fmla="*/ 2147483647 h 196"/>
              <a:gd name="T6" fmla="*/ 2147483647 w 6803"/>
              <a:gd name="T7" fmla="*/ 2147483647 h 196"/>
              <a:gd name="T8" fmla="*/ 2147483647 w 6803"/>
              <a:gd name="T9" fmla="*/ 2147483647 h 196"/>
              <a:gd name="T10" fmla="*/ 2147483647 w 6803"/>
              <a:gd name="T11" fmla="*/ 2147483647 h 196"/>
              <a:gd name="T12" fmla="*/ 2147483647 w 6803"/>
              <a:gd name="T13" fmla="*/ 0 h 1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3" h="196">
                <a:moveTo>
                  <a:pt x="6803" y="0"/>
                </a:moveTo>
                <a:lnTo>
                  <a:pt x="0" y="0"/>
                </a:lnTo>
                <a:lnTo>
                  <a:pt x="0" y="99"/>
                </a:lnTo>
                <a:lnTo>
                  <a:pt x="2187" y="99"/>
                </a:lnTo>
                <a:lnTo>
                  <a:pt x="2282" y="196"/>
                </a:lnTo>
                <a:lnTo>
                  <a:pt x="6803" y="196"/>
                </a:lnTo>
                <a:lnTo>
                  <a:pt x="6803" y="0"/>
                </a:lnTo>
                <a:close/>
              </a:path>
            </a:pathLst>
          </a:custGeom>
          <a:solidFill>
            <a:srgbClr val="0052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2336" y="4851401"/>
            <a:ext cx="11387328" cy="829468"/>
          </a:xfrm>
        </p:spPr>
        <p:txBody>
          <a:bodyPr lIns="91440" rIns="91440"/>
          <a:lstStyle>
            <a:lvl1pPr>
              <a:lnSpc>
                <a:spcPct val="125000"/>
              </a:lnSpc>
              <a:defRPr sz="3200" b="1" cap="none" baseline="0">
                <a:solidFill>
                  <a:srgbClr val="00529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2336" y="5680870"/>
            <a:ext cx="11387328" cy="554709"/>
          </a:xfrm>
        </p:spPr>
        <p:txBody>
          <a:bodyPr/>
          <a:lstStyle>
            <a:lvl1pPr marL="0" indent="0">
              <a:buFont typeface="Wingdings 2" pitchFamily="18" charset="2"/>
              <a:buNone/>
              <a:defRPr sz="26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Rectangle 13"/>
          <p:cNvSpPr>
            <a:spLocks/>
          </p:cNvSpPr>
          <p:nvPr userDrawn="1"/>
        </p:nvSpPr>
        <p:spPr>
          <a:xfrm>
            <a:off x="8457957" y="6560418"/>
            <a:ext cx="3319177" cy="225767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67" dirty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Copyright © 2016 HCL Technologies Limited  |  www.hcltech.com</a:t>
            </a:r>
          </a:p>
        </p:txBody>
      </p:sp>
      <p:grpSp>
        <p:nvGrpSpPr>
          <p:cNvPr id="15" name="Group 5"/>
          <p:cNvGrpSpPr>
            <a:grpSpLocks noChangeAspect="1"/>
          </p:cNvGrpSpPr>
          <p:nvPr userDrawn="1"/>
        </p:nvGrpSpPr>
        <p:grpSpPr bwMode="auto">
          <a:xfrm>
            <a:off x="10756901" y="6413764"/>
            <a:ext cx="1020233" cy="173473"/>
            <a:chOff x="5094" y="3939"/>
            <a:chExt cx="1488" cy="255"/>
          </a:xfrm>
        </p:grpSpPr>
        <p:sp>
          <p:nvSpPr>
            <p:cNvPr id="16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932225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124014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2192000" cy="1524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4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51638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 bwMode="auto">
          <a:xfrm>
            <a:off x="915076" y="2616245"/>
            <a:ext cx="10380528" cy="129582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>
            <a:softEdge rad="127000"/>
          </a:effectLst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4800" dirty="0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701041" y="2789436"/>
            <a:ext cx="10779761" cy="94384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960" tIns="60960" rIns="60960" bIns="6096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endParaRPr lang="en-US" sz="2667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04241" y="2789436"/>
            <a:ext cx="10779761" cy="943848"/>
          </a:xfrm>
        </p:spPr>
        <p:txBody>
          <a:bodyPr anchor="ctr" anchorCtr="0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lang="en-IN" sz="2667" b="1" kern="1200" cap="none" baseline="0" dirty="0">
                <a:solidFill>
                  <a:srgbClr val="00529B"/>
                </a:solidFill>
                <a:latin typeface="+mj-lt"/>
                <a:ea typeface="+mj-ea"/>
                <a:cs typeface="+mj-cs"/>
              </a:defRPr>
            </a:lvl1pPr>
            <a:lvl2pPr marL="319608" indent="0">
              <a:buFontTx/>
              <a:buNone/>
              <a:defRPr/>
            </a:lvl2pPr>
            <a:lvl3pPr marL="622284" indent="0">
              <a:buFontTx/>
              <a:buNone/>
              <a:defRPr/>
            </a:lvl3pPr>
            <a:lvl4pPr marL="914377" indent="0">
              <a:buFontTx/>
              <a:buNone/>
              <a:defRPr/>
            </a:lvl4pPr>
            <a:lvl5pPr marL="1219170" indent="0">
              <a:buFontTx/>
              <a:buNone/>
              <a:defRPr/>
            </a:lvl5pPr>
          </a:lstStyle>
          <a:p>
            <a:pPr lv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3068639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>
            <a:spLocks noChangeArrowheads="1"/>
          </p:cNvSpPr>
          <p:nvPr userDrawn="1"/>
        </p:nvSpPr>
        <p:spPr bwMode="auto">
          <a:xfrm>
            <a:off x="0" y="0"/>
            <a:ext cx="12192000" cy="6864096"/>
          </a:xfrm>
          <a:prstGeom prst="rect">
            <a:avLst/>
          </a:prstGeom>
          <a:solidFill>
            <a:srgbClr val="0E67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  <p:grpSp>
        <p:nvGrpSpPr>
          <p:cNvPr id="52" name="Group 13"/>
          <p:cNvGrpSpPr>
            <a:grpSpLocks/>
          </p:cNvGrpSpPr>
          <p:nvPr userDrawn="1"/>
        </p:nvGrpSpPr>
        <p:grpSpPr bwMode="auto">
          <a:xfrm>
            <a:off x="5022443" y="5859673"/>
            <a:ext cx="2147116" cy="438641"/>
            <a:chOff x="3533775" y="5853113"/>
            <a:chExt cx="2144713" cy="438150"/>
          </a:xfrm>
        </p:grpSpPr>
        <p:sp>
          <p:nvSpPr>
            <p:cNvPr id="53" name="Freeform 74"/>
            <p:cNvSpPr>
              <a:spLocks/>
            </p:cNvSpPr>
            <p:nvPr userDrawn="1"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75"/>
            <p:cNvSpPr>
              <a:spLocks noEditPoints="1"/>
            </p:cNvSpPr>
            <p:nvPr userDrawn="1"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76"/>
            <p:cNvSpPr>
              <a:spLocks/>
            </p:cNvSpPr>
            <p:nvPr userDrawn="1"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77"/>
            <p:cNvSpPr>
              <a:spLocks/>
            </p:cNvSpPr>
            <p:nvPr userDrawn="1"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8"/>
            <p:cNvSpPr>
              <a:spLocks/>
            </p:cNvSpPr>
            <p:nvPr userDrawn="1"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79"/>
            <p:cNvSpPr>
              <a:spLocks/>
            </p:cNvSpPr>
            <p:nvPr userDrawn="1"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80"/>
            <p:cNvSpPr>
              <a:spLocks/>
            </p:cNvSpPr>
            <p:nvPr userDrawn="1"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81"/>
            <p:cNvSpPr>
              <a:spLocks/>
            </p:cNvSpPr>
            <p:nvPr userDrawn="1"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82"/>
            <p:cNvSpPr>
              <a:spLocks/>
            </p:cNvSpPr>
            <p:nvPr userDrawn="1"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2" name="Rectangle 83"/>
            <p:cNvSpPr>
              <a:spLocks noChangeArrowheads="1"/>
            </p:cNvSpPr>
            <p:nvPr userDrawn="1"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FFFFFF"/>
                </a:solidFill>
              </a:endParaRPr>
            </a:p>
          </p:txBody>
        </p:sp>
        <p:sp>
          <p:nvSpPr>
            <p:cNvPr id="63" name="Freeform 84"/>
            <p:cNvSpPr>
              <a:spLocks/>
            </p:cNvSpPr>
            <p:nvPr userDrawn="1"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85"/>
            <p:cNvSpPr>
              <a:spLocks/>
            </p:cNvSpPr>
            <p:nvPr userDrawn="1"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5" name="Oval 86"/>
            <p:cNvSpPr>
              <a:spLocks noChangeArrowheads="1"/>
            </p:cNvSpPr>
            <p:nvPr userDrawn="1"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87"/>
            <p:cNvSpPr>
              <a:spLocks/>
            </p:cNvSpPr>
            <p:nvPr userDrawn="1"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7" name="AutoShape 72">
            <a:hlinkClick r:id="rId2"/>
          </p:cNvPr>
          <p:cNvSpPr>
            <a:spLocks noChangeAspect="1" noChangeArrowheads="1" noTextEdit="1"/>
          </p:cNvSpPr>
          <p:nvPr userDrawn="1"/>
        </p:nvSpPr>
        <p:spPr bwMode="auto">
          <a:xfrm>
            <a:off x="4911989" y="5827887"/>
            <a:ext cx="2368025" cy="500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  <p:grpSp>
        <p:nvGrpSpPr>
          <p:cNvPr id="68" name="Group 67"/>
          <p:cNvGrpSpPr/>
          <p:nvPr userDrawn="1"/>
        </p:nvGrpSpPr>
        <p:grpSpPr>
          <a:xfrm>
            <a:off x="4899274" y="823247"/>
            <a:ext cx="2393455" cy="365535"/>
            <a:chOff x="3712598" y="617435"/>
            <a:chExt cx="1795091" cy="274151"/>
          </a:xfrm>
        </p:grpSpPr>
        <p:sp>
          <p:nvSpPr>
            <p:cNvPr id="69" name="Freeform 7"/>
            <p:cNvSpPr>
              <a:spLocks/>
            </p:cNvSpPr>
            <p:nvPr userDrawn="1"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8"/>
            <p:cNvSpPr>
              <a:spLocks/>
            </p:cNvSpPr>
            <p:nvPr userDrawn="1"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Group 71"/>
          <p:cNvGrpSpPr/>
          <p:nvPr userDrawn="1"/>
        </p:nvGrpSpPr>
        <p:grpSpPr>
          <a:xfrm>
            <a:off x="3616726" y="2644562"/>
            <a:ext cx="4958551" cy="1061639"/>
            <a:chOff x="2697049" y="1983421"/>
            <a:chExt cx="3718913" cy="796229"/>
          </a:xfrm>
        </p:grpSpPr>
        <p:sp>
          <p:nvSpPr>
            <p:cNvPr id="73" name="Freeform 51"/>
            <p:cNvSpPr>
              <a:spLocks noEditPoints="1"/>
            </p:cNvSpPr>
            <p:nvPr userDrawn="1"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52"/>
            <p:cNvSpPr>
              <a:spLocks/>
            </p:cNvSpPr>
            <p:nvPr userDrawn="1"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53"/>
            <p:cNvSpPr>
              <a:spLocks/>
            </p:cNvSpPr>
            <p:nvPr userDrawn="1"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54"/>
            <p:cNvSpPr>
              <a:spLocks noEditPoints="1"/>
            </p:cNvSpPr>
            <p:nvPr userDrawn="1"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56"/>
            <p:cNvSpPr>
              <a:spLocks noEditPoints="1"/>
            </p:cNvSpPr>
            <p:nvPr userDrawn="1"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60"/>
            <p:cNvSpPr>
              <a:spLocks/>
            </p:cNvSpPr>
            <p:nvPr userDrawn="1"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61"/>
            <p:cNvSpPr>
              <a:spLocks noEditPoints="1"/>
            </p:cNvSpPr>
            <p:nvPr userDrawn="1"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62"/>
            <p:cNvSpPr>
              <a:spLocks/>
            </p:cNvSpPr>
            <p:nvPr userDrawn="1"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63"/>
            <p:cNvSpPr>
              <a:spLocks/>
            </p:cNvSpPr>
            <p:nvPr userDrawn="1"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64"/>
            <p:cNvSpPr>
              <a:spLocks noEditPoints="1"/>
            </p:cNvSpPr>
            <p:nvPr userDrawn="1"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65"/>
            <p:cNvSpPr>
              <a:spLocks noEditPoints="1"/>
            </p:cNvSpPr>
            <p:nvPr userDrawn="1"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66"/>
            <p:cNvSpPr>
              <a:spLocks/>
            </p:cNvSpPr>
            <p:nvPr userDrawn="1"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67"/>
            <p:cNvSpPr>
              <a:spLocks/>
            </p:cNvSpPr>
            <p:nvPr userDrawn="1"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68"/>
            <p:cNvSpPr>
              <a:spLocks/>
            </p:cNvSpPr>
            <p:nvPr userDrawn="1"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69"/>
            <p:cNvSpPr>
              <a:spLocks/>
            </p:cNvSpPr>
            <p:nvPr userDrawn="1"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70"/>
            <p:cNvSpPr>
              <a:spLocks noEditPoints="1"/>
            </p:cNvSpPr>
            <p:nvPr userDrawn="1"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71"/>
            <p:cNvSpPr>
              <a:spLocks noEditPoints="1"/>
            </p:cNvSpPr>
            <p:nvPr userDrawn="1"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72"/>
            <p:cNvSpPr>
              <a:spLocks noEditPoints="1"/>
            </p:cNvSpPr>
            <p:nvPr userDrawn="1"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73"/>
            <p:cNvSpPr>
              <a:spLocks/>
            </p:cNvSpPr>
            <p:nvPr userDrawn="1"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74"/>
            <p:cNvSpPr>
              <a:spLocks/>
            </p:cNvSpPr>
            <p:nvPr userDrawn="1"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75"/>
            <p:cNvSpPr>
              <a:spLocks/>
            </p:cNvSpPr>
            <p:nvPr userDrawn="1"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7" name="TextBox 48"/>
          <p:cNvSpPr txBox="1">
            <a:spLocks noChangeArrowheads="1"/>
          </p:cNvSpPr>
          <p:nvPr userDrawn="1"/>
        </p:nvSpPr>
        <p:spPr bwMode="auto">
          <a:xfrm>
            <a:off x="2666216" y="4052464"/>
            <a:ext cx="685957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rgbClr val="FFFFFF"/>
                </a:solidFill>
              </a:rPr>
              <a:t>$7 </a:t>
            </a:r>
            <a:r>
              <a:rPr lang="en-US" sz="1600" dirty="0">
                <a:solidFill>
                  <a:srgbClr val="FFFFFF"/>
                </a:solidFill>
              </a:rPr>
              <a:t>BILLION ENTERPRISE | </a:t>
            </a:r>
            <a:r>
              <a:rPr lang="en-US" sz="1600" b="1" dirty="0">
                <a:solidFill>
                  <a:srgbClr val="FFFFFF"/>
                </a:solidFill>
              </a:rPr>
              <a:t>109,000</a:t>
            </a:r>
            <a:r>
              <a:rPr lang="en-US" sz="1600" dirty="0">
                <a:solidFill>
                  <a:srgbClr val="FFFFFF"/>
                </a:solidFill>
              </a:rPr>
              <a:t> IDEAPRENEURS | </a:t>
            </a:r>
            <a:r>
              <a:rPr lang="en-US" sz="1600" b="1" dirty="0">
                <a:solidFill>
                  <a:srgbClr val="FFFFFF"/>
                </a:solidFill>
              </a:rPr>
              <a:t>31</a:t>
            </a:r>
            <a:r>
              <a:rPr lang="en-US" sz="1600" dirty="0">
                <a:solidFill>
                  <a:srgbClr val="FFFFFF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60385405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566336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 bwMode="auto">
          <a:xfrm>
            <a:off x="915076" y="2616245"/>
            <a:ext cx="10380528" cy="129582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>
            <a:softEdge rad="127000"/>
          </a:effectLst>
        </p:spPr>
        <p:txBody>
          <a:bodyPr vert="horz" wrap="non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N" sz="4800" dirty="0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701041" y="2789436"/>
            <a:ext cx="10779761" cy="94384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960" tIns="60960" rIns="60960" bIns="6096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endParaRPr lang="en-US" sz="2667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904241" y="2789436"/>
            <a:ext cx="10779761" cy="943848"/>
          </a:xfrm>
        </p:spPr>
        <p:txBody>
          <a:bodyPr anchor="ctr" anchorCtr="0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lang="en-IN" sz="2667" b="1" kern="1200" cap="none" baseline="0" dirty="0">
                <a:solidFill>
                  <a:srgbClr val="00529B"/>
                </a:solidFill>
                <a:latin typeface="+mj-lt"/>
                <a:ea typeface="+mj-ea"/>
                <a:cs typeface="+mj-cs"/>
              </a:defRPr>
            </a:lvl1pPr>
            <a:lvl2pPr marL="319608" indent="0">
              <a:buFontTx/>
              <a:buNone/>
              <a:defRPr/>
            </a:lvl2pPr>
            <a:lvl3pPr marL="622284" indent="0">
              <a:buFontTx/>
              <a:buNone/>
              <a:defRPr/>
            </a:lvl3pPr>
            <a:lvl4pPr marL="914377" indent="0">
              <a:buFontTx/>
              <a:buNone/>
              <a:defRPr/>
            </a:lvl4pPr>
            <a:lvl5pPr marL="1219170" indent="0">
              <a:buFontTx/>
              <a:buNone/>
              <a:defRPr/>
            </a:lvl5pPr>
          </a:lstStyle>
          <a:p>
            <a:pPr lv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21134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HCL_Background.jp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92"/>
          <a:stretch/>
        </p:blipFill>
        <p:spPr>
          <a:xfrm>
            <a:off x="0" y="2853"/>
            <a:ext cx="12192000" cy="6855148"/>
          </a:xfrm>
          <a:prstGeom prst="rect">
            <a:avLst/>
          </a:prstGeom>
        </p:spPr>
      </p:pic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1000" y="2590800"/>
            <a:ext cx="3469340" cy="1143000"/>
          </a:xfrm>
        </p:spPr>
        <p:txBody>
          <a:bodyPr lIns="91440" rIns="91440" anchor="ctr" anchorCtr="0"/>
          <a:lstStyle>
            <a:lvl1pPr algn="l">
              <a:lnSpc>
                <a:spcPct val="100000"/>
              </a:lnSpc>
              <a:defRPr sz="18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57200" y="3962400"/>
            <a:ext cx="3393139" cy="609600"/>
          </a:xfrm>
        </p:spPr>
        <p:txBody>
          <a:bodyPr/>
          <a:lstStyle>
            <a:lvl1pPr marL="0" indent="0" algn="l">
              <a:buFont typeface="Wingdings 2" pitchFamily="18" charset="2"/>
              <a:buNone/>
              <a:defRPr sz="14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/>
          <a:srcRect r="11879"/>
          <a:stretch/>
        </p:blipFill>
        <p:spPr>
          <a:xfrm>
            <a:off x="2038351" y="9480"/>
            <a:ext cx="2025649" cy="1721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88681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2228" y="166914"/>
            <a:ext cx="8621485" cy="749300"/>
          </a:xfrm>
        </p:spPr>
        <p:txBody>
          <a:bodyPr/>
          <a:lstStyle>
            <a:lvl1pPr>
              <a:defRPr sz="16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/>
          </p:cNvSpPr>
          <p:nvPr userDrawn="1"/>
        </p:nvSpPr>
        <p:spPr bwMode="auto">
          <a:xfrm>
            <a:off x="8823657" y="6597040"/>
            <a:ext cx="3027340" cy="21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236" r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790" b="0" baseline="0" dirty="0">
                <a:solidFill>
                  <a:srgbClr val="000000"/>
                </a:solidFill>
                <a:latin typeface="Arial"/>
                <a:ea typeface="Verdana" pitchFamily="34" charset="0"/>
                <a:cs typeface="Arial" pitchFamily="34" charset="0"/>
              </a:rPr>
              <a:t>Copyright © 2017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71058807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2228" y="166914"/>
            <a:ext cx="8621485" cy="749300"/>
          </a:xfrm>
        </p:spPr>
        <p:txBody>
          <a:bodyPr/>
          <a:lstStyle>
            <a:lvl1pPr>
              <a:defRPr sz="16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/>
          </p:cNvSpPr>
          <p:nvPr userDrawn="1"/>
        </p:nvSpPr>
        <p:spPr bwMode="auto">
          <a:xfrm>
            <a:off x="8823657" y="6597040"/>
            <a:ext cx="3027340" cy="21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236" rIns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US" sz="790" b="0" baseline="0" dirty="0">
                <a:solidFill>
                  <a:srgbClr val="000000"/>
                </a:solidFill>
                <a:latin typeface="Arial"/>
                <a:ea typeface="Verdana" pitchFamily="34" charset="0"/>
                <a:cs typeface="Arial" pitchFamily="34" charset="0"/>
              </a:rPr>
              <a:t>Copyright © 2018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58878063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1C88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867400" y="6567054"/>
            <a:ext cx="457200" cy="290946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4593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1C88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143000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5867400" y="6567054"/>
            <a:ext cx="457200" cy="290946"/>
          </a:xfrm>
          <a:prstGeom prst="rect">
            <a:avLst/>
          </a:prstGeom>
          <a:solidFill>
            <a:srgbClr val="1C88B8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0296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053521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52625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82"/>
          <p:cNvGrpSpPr>
            <a:grpSpLocks/>
          </p:cNvGrpSpPr>
          <p:nvPr userDrawn="1"/>
        </p:nvGrpSpPr>
        <p:grpSpPr bwMode="auto">
          <a:xfrm>
            <a:off x="4667251" y="5853116"/>
            <a:ext cx="2859616" cy="438149"/>
            <a:chOff x="3533775" y="5853113"/>
            <a:chExt cx="2144713" cy="438150"/>
          </a:xfrm>
        </p:grpSpPr>
        <p:sp>
          <p:nvSpPr>
            <p:cNvPr id="4" name="Freeform 74"/>
            <p:cNvSpPr>
              <a:spLocks/>
            </p:cNvSpPr>
            <p:nvPr userDrawn="1"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2147483647 w 60"/>
                <a:gd name="T1" fmla="*/ 0 h 47"/>
                <a:gd name="T2" fmla="*/ 2147483647 w 60"/>
                <a:gd name="T3" fmla="*/ 2147483647 h 47"/>
                <a:gd name="T4" fmla="*/ 2147483647 w 60"/>
                <a:gd name="T5" fmla="*/ 2147483647 h 47"/>
                <a:gd name="T6" fmla="*/ 2147483647 w 60"/>
                <a:gd name="T7" fmla="*/ 2147483647 h 47"/>
                <a:gd name="T8" fmla="*/ 2147483647 w 60"/>
                <a:gd name="T9" fmla="*/ 2147483647 h 47"/>
                <a:gd name="T10" fmla="*/ 2147483647 w 60"/>
                <a:gd name="T11" fmla="*/ 2147483647 h 47"/>
                <a:gd name="T12" fmla="*/ 2147483647 w 60"/>
                <a:gd name="T13" fmla="*/ 2147483647 h 47"/>
                <a:gd name="T14" fmla="*/ 2147483647 w 60"/>
                <a:gd name="T15" fmla="*/ 2147483647 h 47"/>
                <a:gd name="T16" fmla="*/ 2147483647 w 60"/>
                <a:gd name="T17" fmla="*/ 2147483647 h 47"/>
                <a:gd name="T18" fmla="*/ 0 w 60"/>
                <a:gd name="T19" fmla="*/ 0 h 47"/>
                <a:gd name="T20" fmla="*/ 2147483647 w 60"/>
                <a:gd name="T21" fmla="*/ 0 h 47"/>
                <a:gd name="T22" fmla="*/ 2147483647 w 60"/>
                <a:gd name="T23" fmla="*/ 2147483647 h 47"/>
                <a:gd name="T24" fmla="*/ 2147483647 w 60"/>
                <a:gd name="T25" fmla="*/ 2147483647 h 47"/>
                <a:gd name="T26" fmla="*/ 2147483647 w 60"/>
                <a:gd name="T27" fmla="*/ 2147483647 h 47"/>
                <a:gd name="T28" fmla="*/ 2147483647 w 60"/>
                <a:gd name="T29" fmla="*/ 2147483647 h 47"/>
                <a:gd name="T30" fmla="*/ 2147483647 w 60"/>
                <a:gd name="T31" fmla="*/ 2147483647 h 47"/>
                <a:gd name="T32" fmla="*/ 2147483647 w 60"/>
                <a:gd name="T33" fmla="*/ 2147483647 h 47"/>
                <a:gd name="T34" fmla="*/ 2147483647 w 60"/>
                <a:gd name="T35" fmla="*/ 2147483647 h 47"/>
                <a:gd name="T36" fmla="*/ 2147483647 w 60"/>
                <a:gd name="T37" fmla="*/ 2147483647 h 47"/>
                <a:gd name="T38" fmla="*/ 2147483647 w 60"/>
                <a:gd name="T39" fmla="*/ 2147483647 h 47"/>
                <a:gd name="T40" fmla="*/ 2147483647 w 60"/>
                <a:gd name="T41" fmla="*/ 2147483647 h 47"/>
                <a:gd name="T42" fmla="*/ 2147483647 w 60"/>
                <a:gd name="T43" fmla="*/ 0 h 47"/>
                <a:gd name="T44" fmla="*/ 2147483647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" name="Freeform 75"/>
            <p:cNvSpPr>
              <a:spLocks noEditPoints="1"/>
            </p:cNvSpPr>
            <p:nvPr userDrawn="1"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2147483647 w 43"/>
                <a:gd name="T1" fmla="*/ 2147483647 h 47"/>
                <a:gd name="T2" fmla="*/ 2147483647 w 43"/>
                <a:gd name="T3" fmla="*/ 2147483647 h 47"/>
                <a:gd name="T4" fmla="*/ 2147483647 w 43"/>
                <a:gd name="T5" fmla="*/ 2147483647 h 47"/>
                <a:gd name="T6" fmla="*/ 0 w 43"/>
                <a:gd name="T7" fmla="*/ 2147483647 h 47"/>
                <a:gd name="T8" fmla="*/ 2147483647 w 43"/>
                <a:gd name="T9" fmla="*/ 0 h 47"/>
                <a:gd name="T10" fmla="*/ 2147483647 w 43"/>
                <a:gd name="T11" fmla="*/ 0 h 47"/>
                <a:gd name="T12" fmla="*/ 2147483647 w 43"/>
                <a:gd name="T13" fmla="*/ 2147483647 h 47"/>
                <a:gd name="T14" fmla="*/ 2147483647 w 43"/>
                <a:gd name="T15" fmla="*/ 2147483647 h 47"/>
                <a:gd name="T16" fmla="*/ 2147483647 w 43"/>
                <a:gd name="T17" fmla="*/ 2147483647 h 47"/>
                <a:gd name="T18" fmla="*/ 2147483647 w 43"/>
                <a:gd name="T19" fmla="*/ 2147483647 h 47"/>
                <a:gd name="T20" fmla="*/ 2147483647 w 43"/>
                <a:gd name="T21" fmla="*/ 2147483647 h 47"/>
                <a:gd name="T22" fmla="*/ 2147483647 w 43"/>
                <a:gd name="T23" fmla="*/ 2147483647 h 47"/>
                <a:gd name="T24" fmla="*/ 2147483647 w 43"/>
                <a:gd name="T25" fmla="*/ 2147483647 h 47"/>
                <a:gd name="T26" fmla="*/ 2147483647 w 43"/>
                <a:gd name="T27" fmla="*/ 2147483647 h 47"/>
                <a:gd name="T28" fmla="*/ 2147483647 w 43"/>
                <a:gd name="T29" fmla="*/ 2147483647 h 47"/>
                <a:gd name="T30" fmla="*/ 2147483647 w 43"/>
                <a:gd name="T31" fmla="*/ 2147483647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" name="Freeform 76"/>
            <p:cNvSpPr>
              <a:spLocks/>
            </p:cNvSpPr>
            <p:nvPr userDrawn="1"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2147483647 w 82"/>
                <a:gd name="T1" fmla="*/ 0 h 111"/>
                <a:gd name="T2" fmla="*/ 2147483647 w 82"/>
                <a:gd name="T3" fmla="*/ 2147483647 h 111"/>
                <a:gd name="T4" fmla="*/ 2147483647 w 82"/>
                <a:gd name="T5" fmla="*/ 2147483647 h 111"/>
                <a:gd name="T6" fmla="*/ 2147483647 w 82"/>
                <a:gd name="T7" fmla="*/ 2147483647 h 111"/>
                <a:gd name="T8" fmla="*/ 2147483647 w 82"/>
                <a:gd name="T9" fmla="*/ 2147483647 h 111"/>
                <a:gd name="T10" fmla="*/ 2147483647 w 82"/>
                <a:gd name="T11" fmla="*/ 2147483647 h 111"/>
                <a:gd name="T12" fmla="*/ 0 w 82"/>
                <a:gd name="T13" fmla="*/ 2147483647 h 111"/>
                <a:gd name="T14" fmla="*/ 0 w 82"/>
                <a:gd name="T15" fmla="*/ 0 h 111"/>
                <a:gd name="T16" fmla="*/ 2147483647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" name="Freeform 77"/>
            <p:cNvSpPr>
              <a:spLocks/>
            </p:cNvSpPr>
            <p:nvPr userDrawn="1"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2147483647 w 42"/>
                <a:gd name="T1" fmla="*/ 2147483647 h 49"/>
                <a:gd name="T2" fmla="*/ 2147483647 w 42"/>
                <a:gd name="T3" fmla="*/ 2147483647 h 49"/>
                <a:gd name="T4" fmla="*/ 2147483647 w 42"/>
                <a:gd name="T5" fmla="*/ 2147483647 h 49"/>
                <a:gd name="T6" fmla="*/ 2147483647 w 42"/>
                <a:gd name="T7" fmla="*/ 2147483647 h 49"/>
                <a:gd name="T8" fmla="*/ 2147483647 w 42"/>
                <a:gd name="T9" fmla="*/ 2147483647 h 49"/>
                <a:gd name="T10" fmla="*/ 2147483647 w 42"/>
                <a:gd name="T11" fmla="*/ 2147483647 h 49"/>
                <a:gd name="T12" fmla="*/ 2147483647 w 42"/>
                <a:gd name="T13" fmla="*/ 2147483647 h 49"/>
                <a:gd name="T14" fmla="*/ 0 w 42"/>
                <a:gd name="T15" fmla="*/ 2147483647 h 49"/>
                <a:gd name="T16" fmla="*/ 2147483647 w 42"/>
                <a:gd name="T17" fmla="*/ 0 h 49"/>
                <a:gd name="T18" fmla="*/ 2147483647 w 42"/>
                <a:gd name="T19" fmla="*/ 2147483647 h 49"/>
                <a:gd name="T20" fmla="*/ 2147483647 w 42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" name="Freeform 78"/>
            <p:cNvSpPr>
              <a:spLocks/>
            </p:cNvSpPr>
            <p:nvPr userDrawn="1"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2147483647 w 82"/>
                <a:gd name="T1" fmla="*/ 0 h 111"/>
                <a:gd name="T2" fmla="*/ 2147483647 w 82"/>
                <a:gd name="T3" fmla="*/ 2147483647 h 111"/>
                <a:gd name="T4" fmla="*/ 2147483647 w 82"/>
                <a:gd name="T5" fmla="*/ 2147483647 h 111"/>
                <a:gd name="T6" fmla="*/ 2147483647 w 82"/>
                <a:gd name="T7" fmla="*/ 2147483647 h 111"/>
                <a:gd name="T8" fmla="*/ 2147483647 w 82"/>
                <a:gd name="T9" fmla="*/ 2147483647 h 111"/>
                <a:gd name="T10" fmla="*/ 2147483647 w 82"/>
                <a:gd name="T11" fmla="*/ 2147483647 h 111"/>
                <a:gd name="T12" fmla="*/ 0 w 82"/>
                <a:gd name="T13" fmla="*/ 2147483647 h 111"/>
                <a:gd name="T14" fmla="*/ 0 w 82"/>
                <a:gd name="T15" fmla="*/ 0 h 111"/>
                <a:gd name="T16" fmla="*/ 2147483647 w 82"/>
                <a:gd name="T17" fmla="*/ 0 h 111"/>
                <a:gd name="T18" fmla="*/ 2147483647 w 82"/>
                <a:gd name="T19" fmla="*/ 2147483647 h 111"/>
                <a:gd name="T20" fmla="*/ 2147483647 w 82"/>
                <a:gd name="T21" fmla="*/ 2147483647 h 111"/>
                <a:gd name="T22" fmla="*/ 2147483647 w 82"/>
                <a:gd name="T23" fmla="*/ 0 h 111"/>
                <a:gd name="T24" fmla="*/ 2147483647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" name="Freeform 79"/>
            <p:cNvSpPr>
              <a:spLocks/>
            </p:cNvSpPr>
            <p:nvPr userDrawn="1"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2147483647 w 83"/>
                <a:gd name="T1" fmla="*/ 0 h 111"/>
                <a:gd name="T2" fmla="*/ 2147483647 w 83"/>
                <a:gd name="T3" fmla="*/ 2147483647 h 111"/>
                <a:gd name="T4" fmla="*/ 2147483647 w 83"/>
                <a:gd name="T5" fmla="*/ 2147483647 h 111"/>
                <a:gd name="T6" fmla="*/ 2147483647 w 83"/>
                <a:gd name="T7" fmla="*/ 2147483647 h 111"/>
                <a:gd name="T8" fmla="*/ 2147483647 w 83"/>
                <a:gd name="T9" fmla="*/ 2147483647 h 111"/>
                <a:gd name="T10" fmla="*/ 2147483647 w 83"/>
                <a:gd name="T11" fmla="*/ 2147483647 h 111"/>
                <a:gd name="T12" fmla="*/ 0 w 83"/>
                <a:gd name="T13" fmla="*/ 2147483647 h 111"/>
                <a:gd name="T14" fmla="*/ 0 w 83"/>
                <a:gd name="T15" fmla="*/ 0 h 111"/>
                <a:gd name="T16" fmla="*/ 214748364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" name="Freeform 80"/>
            <p:cNvSpPr>
              <a:spLocks/>
            </p:cNvSpPr>
            <p:nvPr userDrawn="1"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2147483647 w 82"/>
                <a:gd name="T1" fmla="*/ 0 h 111"/>
                <a:gd name="T2" fmla="*/ 2147483647 w 82"/>
                <a:gd name="T3" fmla="*/ 2147483647 h 111"/>
                <a:gd name="T4" fmla="*/ 2147483647 w 82"/>
                <a:gd name="T5" fmla="*/ 2147483647 h 111"/>
                <a:gd name="T6" fmla="*/ 2147483647 w 82"/>
                <a:gd name="T7" fmla="*/ 2147483647 h 111"/>
                <a:gd name="T8" fmla="*/ 2147483647 w 82"/>
                <a:gd name="T9" fmla="*/ 2147483647 h 111"/>
                <a:gd name="T10" fmla="*/ 2147483647 w 82"/>
                <a:gd name="T11" fmla="*/ 2147483647 h 111"/>
                <a:gd name="T12" fmla="*/ 0 w 82"/>
                <a:gd name="T13" fmla="*/ 2147483647 h 111"/>
                <a:gd name="T14" fmla="*/ 0 w 82"/>
                <a:gd name="T15" fmla="*/ 0 h 111"/>
                <a:gd name="T16" fmla="*/ 2147483647 w 82"/>
                <a:gd name="T17" fmla="*/ 0 h 111"/>
                <a:gd name="T18" fmla="*/ 2147483647 w 82"/>
                <a:gd name="T19" fmla="*/ 2147483647 h 111"/>
                <a:gd name="T20" fmla="*/ 2147483647 w 82"/>
                <a:gd name="T21" fmla="*/ 2147483647 h 111"/>
                <a:gd name="T22" fmla="*/ 2147483647 w 82"/>
                <a:gd name="T23" fmla="*/ 0 h 111"/>
                <a:gd name="T24" fmla="*/ 2147483647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" name="Freeform 81"/>
            <p:cNvSpPr>
              <a:spLocks/>
            </p:cNvSpPr>
            <p:nvPr userDrawn="1"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2147483647 w 71"/>
                <a:gd name="T1" fmla="*/ 2147483647 h 111"/>
                <a:gd name="T2" fmla="*/ 2147483647 w 71"/>
                <a:gd name="T3" fmla="*/ 2147483647 h 111"/>
                <a:gd name="T4" fmla="*/ 0 w 71"/>
                <a:gd name="T5" fmla="*/ 2147483647 h 111"/>
                <a:gd name="T6" fmla="*/ 0 w 71"/>
                <a:gd name="T7" fmla="*/ 0 h 111"/>
                <a:gd name="T8" fmla="*/ 2147483647 w 71"/>
                <a:gd name="T9" fmla="*/ 0 h 111"/>
                <a:gd name="T10" fmla="*/ 2147483647 w 71"/>
                <a:gd name="T11" fmla="*/ 2147483647 h 111"/>
                <a:gd name="T12" fmla="*/ 2147483647 w 71"/>
                <a:gd name="T13" fmla="*/ 2147483647 h 111"/>
                <a:gd name="T14" fmla="*/ 2147483647 w 71"/>
                <a:gd name="T15" fmla="*/ 2147483647 h 111"/>
                <a:gd name="T16" fmla="*/ 2147483647 w 71"/>
                <a:gd name="T17" fmla="*/ 2147483647 h 111"/>
                <a:gd name="T18" fmla="*/ 2147483647 w 71"/>
                <a:gd name="T19" fmla="*/ 2147483647 h 111"/>
                <a:gd name="T20" fmla="*/ 2147483647 w 71"/>
                <a:gd name="T21" fmla="*/ 2147483647 h 111"/>
                <a:gd name="T22" fmla="*/ 2147483647 w 71"/>
                <a:gd name="T23" fmla="*/ 2147483647 h 111"/>
                <a:gd name="T24" fmla="*/ 2147483647 w 71"/>
                <a:gd name="T25" fmla="*/ 2147483647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" name="Freeform 82"/>
            <p:cNvSpPr>
              <a:spLocks/>
            </p:cNvSpPr>
            <p:nvPr userDrawn="1"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2147483647 w 71"/>
                <a:gd name="T1" fmla="*/ 2147483647 h 111"/>
                <a:gd name="T2" fmla="*/ 2147483647 w 71"/>
                <a:gd name="T3" fmla="*/ 2147483647 h 111"/>
                <a:gd name="T4" fmla="*/ 2147483647 w 71"/>
                <a:gd name="T5" fmla="*/ 2147483647 h 111"/>
                <a:gd name="T6" fmla="*/ 2147483647 w 71"/>
                <a:gd name="T7" fmla="*/ 2147483647 h 111"/>
                <a:gd name="T8" fmla="*/ 2147483647 w 71"/>
                <a:gd name="T9" fmla="*/ 2147483647 h 111"/>
                <a:gd name="T10" fmla="*/ 2147483647 w 71"/>
                <a:gd name="T11" fmla="*/ 2147483647 h 111"/>
                <a:gd name="T12" fmla="*/ 0 w 71"/>
                <a:gd name="T13" fmla="*/ 2147483647 h 111"/>
                <a:gd name="T14" fmla="*/ 0 w 71"/>
                <a:gd name="T15" fmla="*/ 0 h 111"/>
                <a:gd name="T16" fmla="*/ 2147483647 w 71"/>
                <a:gd name="T17" fmla="*/ 0 h 111"/>
                <a:gd name="T18" fmla="*/ 2147483647 w 71"/>
                <a:gd name="T19" fmla="*/ 2147483647 h 111"/>
                <a:gd name="T20" fmla="*/ 2147483647 w 71"/>
                <a:gd name="T21" fmla="*/ 2147483647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" name="Rectangle 83"/>
            <p:cNvSpPr>
              <a:spLocks noChangeArrowheads="1"/>
            </p:cNvSpPr>
            <p:nvPr userDrawn="1"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" name="Freeform 84"/>
            <p:cNvSpPr>
              <a:spLocks/>
            </p:cNvSpPr>
            <p:nvPr userDrawn="1"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2147483647 w 73"/>
                <a:gd name="T1" fmla="*/ 2147483647 h 111"/>
                <a:gd name="T2" fmla="*/ 2147483647 w 73"/>
                <a:gd name="T3" fmla="*/ 2147483647 h 111"/>
                <a:gd name="T4" fmla="*/ 0 w 73"/>
                <a:gd name="T5" fmla="*/ 2147483647 h 111"/>
                <a:gd name="T6" fmla="*/ 0 w 73"/>
                <a:gd name="T7" fmla="*/ 0 h 111"/>
                <a:gd name="T8" fmla="*/ 2147483647 w 73"/>
                <a:gd name="T9" fmla="*/ 0 h 111"/>
                <a:gd name="T10" fmla="*/ 2147483647 w 73"/>
                <a:gd name="T11" fmla="*/ 2147483647 h 111"/>
                <a:gd name="T12" fmla="*/ 2147483647 w 73"/>
                <a:gd name="T13" fmla="*/ 2147483647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Freeform 85"/>
            <p:cNvSpPr>
              <a:spLocks/>
            </p:cNvSpPr>
            <p:nvPr userDrawn="1"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2147483647 w 43"/>
                <a:gd name="T1" fmla="*/ 0 h 47"/>
                <a:gd name="T2" fmla="*/ 2147483647 w 43"/>
                <a:gd name="T3" fmla="*/ 2147483647 h 47"/>
                <a:gd name="T4" fmla="*/ 2147483647 w 43"/>
                <a:gd name="T5" fmla="*/ 2147483647 h 47"/>
                <a:gd name="T6" fmla="*/ 2147483647 w 43"/>
                <a:gd name="T7" fmla="*/ 2147483647 h 47"/>
                <a:gd name="T8" fmla="*/ 2147483647 w 43"/>
                <a:gd name="T9" fmla="*/ 2147483647 h 47"/>
                <a:gd name="T10" fmla="*/ 2147483647 w 43"/>
                <a:gd name="T11" fmla="*/ 2147483647 h 47"/>
                <a:gd name="T12" fmla="*/ 2147483647 w 43"/>
                <a:gd name="T13" fmla="*/ 2147483647 h 47"/>
                <a:gd name="T14" fmla="*/ 2147483647 w 43"/>
                <a:gd name="T15" fmla="*/ 2147483647 h 47"/>
                <a:gd name="T16" fmla="*/ 2147483647 w 43"/>
                <a:gd name="T17" fmla="*/ 2147483647 h 47"/>
                <a:gd name="T18" fmla="*/ 2147483647 w 43"/>
                <a:gd name="T19" fmla="*/ 2147483647 h 47"/>
                <a:gd name="T20" fmla="*/ 2147483647 w 43"/>
                <a:gd name="T21" fmla="*/ 2147483647 h 47"/>
                <a:gd name="T22" fmla="*/ 2147483647 w 43"/>
                <a:gd name="T23" fmla="*/ 2147483647 h 47"/>
                <a:gd name="T24" fmla="*/ 2147483647 w 43"/>
                <a:gd name="T25" fmla="*/ 2147483647 h 47"/>
                <a:gd name="T26" fmla="*/ 2147483647 w 43"/>
                <a:gd name="T27" fmla="*/ 2147483647 h 47"/>
                <a:gd name="T28" fmla="*/ 0 w 43"/>
                <a:gd name="T29" fmla="*/ 2147483647 h 47"/>
                <a:gd name="T30" fmla="*/ 0 w 43"/>
                <a:gd name="T31" fmla="*/ 0 h 47"/>
                <a:gd name="T32" fmla="*/ 2147483647 w 43"/>
                <a:gd name="T33" fmla="*/ 0 h 47"/>
                <a:gd name="T34" fmla="*/ 2147483647 w 43"/>
                <a:gd name="T35" fmla="*/ 2147483647 h 47"/>
                <a:gd name="T36" fmla="*/ 2147483647 w 43"/>
                <a:gd name="T37" fmla="*/ 2147483647 h 47"/>
                <a:gd name="T38" fmla="*/ 2147483647 w 43"/>
                <a:gd name="T39" fmla="*/ 2147483647 h 47"/>
                <a:gd name="T40" fmla="*/ 2147483647 w 43"/>
                <a:gd name="T41" fmla="*/ 2147483647 h 47"/>
                <a:gd name="T42" fmla="*/ 2147483647 w 43"/>
                <a:gd name="T43" fmla="*/ 0 h 47"/>
                <a:gd name="T44" fmla="*/ 2147483647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Oval 86"/>
            <p:cNvSpPr>
              <a:spLocks noChangeArrowheads="1"/>
            </p:cNvSpPr>
            <p:nvPr userDrawn="1"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87"/>
            <p:cNvSpPr>
              <a:spLocks/>
            </p:cNvSpPr>
            <p:nvPr userDrawn="1"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2147483647 h 218"/>
                <a:gd name="T2" fmla="*/ 0 w 106"/>
                <a:gd name="T3" fmla="*/ 0 h 218"/>
                <a:gd name="T4" fmla="*/ 2147483647 w 106"/>
                <a:gd name="T5" fmla="*/ 2147483647 h 218"/>
                <a:gd name="T6" fmla="*/ 0 w 106"/>
                <a:gd name="T7" fmla="*/ 2147483647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8" name="AutoShape 72">
            <a:hlinkClick r:id="rId2"/>
          </p:cNvPr>
          <p:cNvSpPr>
            <a:spLocks noChangeAspect="1" noChangeArrowheads="1" noTextEdit="1"/>
          </p:cNvSpPr>
          <p:nvPr userDrawn="1"/>
        </p:nvSpPr>
        <p:spPr bwMode="auto">
          <a:xfrm>
            <a:off x="4519089" y="5821365"/>
            <a:ext cx="3153833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03" tIns="54400" rIns="108803" bIns="5440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2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9" name="Group 30"/>
          <p:cNvGrpSpPr>
            <a:grpSpLocks/>
          </p:cNvGrpSpPr>
          <p:nvPr userDrawn="1"/>
        </p:nvGrpSpPr>
        <p:grpSpPr bwMode="auto">
          <a:xfrm>
            <a:off x="4502155" y="822328"/>
            <a:ext cx="3187700" cy="365125"/>
            <a:chOff x="3427413" y="822325"/>
            <a:chExt cx="2390775" cy="365125"/>
          </a:xfrm>
        </p:grpSpPr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3427413" y="847725"/>
              <a:ext cx="917575" cy="320675"/>
            </a:xfrm>
            <a:custGeom>
              <a:avLst/>
              <a:gdLst>
                <a:gd name="T0" fmla="*/ 0 w 578"/>
                <a:gd name="T1" fmla="*/ 2147483647 h 202"/>
                <a:gd name="T2" fmla="*/ 2147483647 w 578"/>
                <a:gd name="T3" fmla="*/ 2147483647 h 202"/>
                <a:gd name="T4" fmla="*/ 2147483647 w 578"/>
                <a:gd name="T5" fmla="*/ 2147483647 h 202"/>
                <a:gd name="T6" fmla="*/ 2147483647 w 578"/>
                <a:gd name="T7" fmla="*/ 2147483647 h 202"/>
                <a:gd name="T8" fmla="*/ 2147483647 w 578"/>
                <a:gd name="T9" fmla="*/ 2147483647 h 202"/>
                <a:gd name="T10" fmla="*/ 2147483647 w 578"/>
                <a:gd name="T11" fmla="*/ 2147483647 h 202"/>
                <a:gd name="T12" fmla="*/ 2147483647 w 578"/>
                <a:gd name="T13" fmla="*/ 0 h 202"/>
                <a:gd name="T14" fmla="*/ 2147483647 w 578"/>
                <a:gd name="T15" fmla="*/ 0 h 202"/>
                <a:gd name="T16" fmla="*/ 2147483647 w 578"/>
                <a:gd name="T17" fmla="*/ 2147483647 h 202"/>
                <a:gd name="T18" fmla="*/ 2147483647 w 578"/>
                <a:gd name="T19" fmla="*/ 2147483647 h 202"/>
                <a:gd name="T20" fmla="*/ 2147483647 w 578"/>
                <a:gd name="T21" fmla="*/ 0 h 202"/>
                <a:gd name="T22" fmla="*/ 2147483647 w 578"/>
                <a:gd name="T23" fmla="*/ 0 h 202"/>
                <a:gd name="T24" fmla="*/ 0 w 578"/>
                <a:gd name="T25" fmla="*/ 2147483647 h 2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Freeform 8"/>
            <p:cNvSpPr>
              <a:spLocks/>
            </p:cNvSpPr>
            <p:nvPr userDrawn="1"/>
          </p:nvSpPr>
          <p:spPr bwMode="auto">
            <a:xfrm>
              <a:off x="4300538" y="822325"/>
              <a:ext cx="866775" cy="365125"/>
            </a:xfrm>
            <a:custGeom>
              <a:avLst/>
              <a:gdLst>
                <a:gd name="T0" fmla="*/ 2147483647 w 273"/>
                <a:gd name="T1" fmla="*/ 2147483647 h 115"/>
                <a:gd name="T2" fmla="*/ 2147483647 w 273"/>
                <a:gd name="T3" fmla="*/ 2147483647 h 115"/>
                <a:gd name="T4" fmla="*/ 2147483647 w 273"/>
                <a:gd name="T5" fmla="*/ 2147483647 h 115"/>
                <a:gd name="T6" fmla="*/ 2147483647 w 273"/>
                <a:gd name="T7" fmla="*/ 2147483647 h 115"/>
                <a:gd name="T8" fmla="*/ 2147483647 w 273"/>
                <a:gd name="T9" fmla="*/ 2147483647 h 115"/>
                <a:gd name="T10" fmla="*/ 2147483647 w 273"/>
                <a:gd name="T11" fmla="*/ 2147483647 h 115"/>
                <a:gd name="T12" fmla="*/ 2147483647 w 273"/>
                <a:gd name="T13" fmla="*/ 2147483647 h 115"/>
                <a:gd name="T14" fmla="*/ 2147483647 w 273"/>
                <a:gd name="T15" fmla="*/ 2147483647 h 115"/>
                <a:gd name="T16" fmla="*/ 2147483647 w 273"/>
                <a:gd name="T17" fmla="*/ 2147483647 h 115"/>
                <a:gd name="T18" fmla="*/ 2147483647 w 273"/>
                <a:gd name="T19" fmla="*/ 2147483647 h 115"/>
                <a:gd name="T20" fmla="*/ 2147483647 w 273"/>
                <a:gd name="T21" fmla="*/ 2147483647 h 115"/>
                <a:gd name="T22" fmla="*/ 2147483647 w 273"/>
                <a:gd name="T23" fmla="*/ 2147483647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9"/>
            <p:cNvSpPr>
              <a:spLocks/>
            </p:cNvSpPr>
            <p:nvPr userDrawn="1"/>
          </p:nvSpPr>
          <p:spPr bwMode="auto">
            <a:xfrm>
              <a:off x="5148263" y="847725"/>
              <a:ext cx="669925" cy="320675"/>
            </a:xfrm>
            <a:custGeom>
              <a:avLst/>
              <a:gdLst>
                <a:gd name="T0" fmla="*/ 2147483647 w 422"/>
                <a:gd name="T1" fmla="*/ 0 h 202"/>
                <a:gd name="T2" fmla="*/ 2147483647 w 422"/>
                <a:gd name="T3" fmla="*/ 2147483647 h 202"/>
                <a:gd name="T4" fmla="*/ 2147483647 w 422"/>
                <a:gd name="T5" fmla="*/ 2147483647 h 202"/>
                <a:gd name="T6" fmla="*/ 2147483647 w 422"/>
                <a:gd name="T7" fmla="*/ 2147483647 h 202"/>
                <a:gd name="T8" fmla="*/ 0 w 422"/>
                <a:gd name="T9" fmla="*/ 2147483647 h 202"/>
                <a:gd name="T10" fmla="*/ 2147483647 w 422"/>
                <a:gd name="T11" fmla="*/ 0 h 202"/>
                <a:gd name="T12" fmla="*/ 2147483647 w 422"/>
                <a:gd name="T13" fmla="*/ 0 h 2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23" name="Group 35"/>
          <p:cNvGrpSpPr>
            <a:grpSpLocks noChangeAspect="1"/>
          </p:cNvGrpSpPr>
          <p:nvPr userDrawn="1"/>
        </p:nvGrpSpPr>
        <p:grpSpPr bwMode="auto">
          <a:xfrm>
            <a:off x="3780367" y="2514602"/>
            <a:ext cx="4631267" cy="744537"/>
            <a:chOff x="2074863" y="2641600"/>
            <a:chExt cx="4953000" cy="1060450"/>
          </a:xfrm>
        </p:grpSpPr>
        <p:sp>
          <p:nvSpPr>
            <p:cNvPr id="24" name="Freeform 35"/>
            <p:cNvSpPr>
              <a:spLocks noEditPoints="1"/>
            </p:cNvSpPr>
            <p:nvPr userDrawn="1"/>
          </p:nvSpPr>
          <p:spPr bwMode="auto">
            <a:xfrm>
              <a:off x="3027363" y="3448050"/>
              <a:ext cx="111125" cy="149225"/>
            </a:xfrm>
            <a:custGeom>
              <a:avLst/>
              <a:gdLst>
                <a:gd name="T0" fmla="*/ 2147483647 w 35"/>
                <a:gd name="T1" fmla="*/ 0 h 47"/>
                <a:gd name="T2" fmla="*/ 2147483647 w 35"/>
                <a:gd name="T3" fmla="*/ 2147483647 h 47"/>
                <a:gd name="T4" fmla="*/ 2147483647 w 35"/>
                <a:gd name="T5" fmla="*/ 2147483647 h 47"/>
                <a:gd name="T6" fmla="*/ 2147483647 w 35"/>
                <a:gd name="T7" fmla="*/ 2147483647 h 47"/>
                <a:gd name="T8" fmla="*/ 2147483647 w 35"/>
                <a:gd name="T9" fmla="*/ 2147483647 h 47"/>
                <a:gd name="T10" fmla="*/ 2147483647 w 35"/>
                <a:gd name="T11" fmla="*/ 2147483647 h 47"/>
                <a:gd name="T12" fmla="*/ 0 w 35"/>
                <a:gd name="T13" fmla="*/ 2147483647 h 47"/>
                <a:gd name="T14" fmla="*/ 0 w 35"/>
                <a:gd name="T15" fmla="*/ 0 h 47"/>
                <a:gd name="T16" fmla="*/ 2147483647 w 35"/>
                <a:gd name="T17" fmla="*/ 0 h 47"/>
                <a:gd name="T18" fmla="*/ 2147483647 w 35"/>
                <a:gd name="T19" fmla="*/ 2147483647 h 47"/>
                <a:gd name="T20" fmla="*/ 2147483647 w 35"/>
                <a:gd name="T21" fmla="*/ 2147483647 h 47"/>
                <a:gd name="T22" fmla="*/ 2147483647 w 35"/>
                <a:gd name="T23" fmla="*/ 2147483647 h 47"/>
                <a:gd name="T24" fmla="*/ 2147483647 w 35"/>
                <a:gd name="T25" fmla="*/ 2147483647 h 47"/>
                <a:gd name="T26" fmla="*/ 2147483647 w 35"/>
                <a:gd name="T27" fmla="*/ 2147483647 h 47"/>
                <a:gd name="T28" fmla="*/ 2147483647 w 35"/>
                <a:gd name="T29" fmla="*/ 2147483647 h 47"/>
                <a:gd name="T30" fmla="*/ 2147483647 w 35"/>
                <a:gd name="T31" fmla="*/ 2147483647 h 47"/>
                <a:gd name="T32" fmla="*/ 2147483647 w 35"/>
                <a:gd name="T33" fmla="*/ 2147483647 h 47"/>
                <a:gd name="T34" fmla="*/ 2147483647 w 35"/>
                <a:gd name="T35" fmla="*/ 2147483647 h 47"/>
                <a:gd name="T36" fmla="*/ 2147483647 w 35"/>
                <a:gd name="T37" fmla="*/ 2147483647 h 47"/>
                <a:gd name="T38" fmla="*/ 2147483647 w 35"/>
                <a:gd name="T39" fmla="*/ 2147483647 h 47"/>
                <a:gd name="T40" fmla="*/ 2147483647 w 35"/>
                <a:gd name="T41" fmla="*/ 2147483647 h 4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36"/>
            <p:cNvSpPr>
              <a:spLocks/>
            </p:cNvSpPr>
            <p:nvPr userDrawn="1"/>
          </p:nvSpPr>
          <p:spPr bwMode="auto">
            <a:xfrm>
              <a:off x="3173413" y="3448050"/>
              <a:ext cx="104775" cy="149225"/>
            </a:xfrm>
            <a:custGeom>
              <a:avLst/>
              <a:gdLst>
                <a:gd name="T0" fmla="*/ 2147483647 w 66"/>
                <a:gd name="T1" fmla="*/ 2147483647 h 94"/>
                <a:gd name="T2" fmla="*/ 2147483647 w 66"/>
                <a:gd name="T3" fmla="*/ 2147483647 h 94"/>
                <a:gd name="T4" fmla="*/ 0 w 66"/>
                <a:gd name="T5" fmla="*/ 2147483647 h 94"/>
                <a:gd name="T6" fmla="*/ 0 w 66"/>
                <a:gd name="T7" fmla="*/ 0 h 94"/>
                <a:gd name="T8" fmla="*/ 2147483647 w 66"/>
                <a:gd name="T9" fmla="*/ 0 h 94"/>
                <a:gd name="T10" fmla="*/ 2147483647 w 66"/>
                <a:gd name="T11" fmla="*/ 2147483647 h 94"/>
                <a:gd name="T12" fmla="*/ 2147483647 w 66"/>
                <a:gd name="T13" fmla="*/ 2147483647 h 94"/>
                <a:gd name="T14" fmla="*/ 2147483647 w 66"/>
                <a:gd name="T15" fmla="*/ 2147483647 h 94"/>
                <a:gd name="T16" fmla="*/ 2147483647 w 66"/>
                <a:gd name="T17" fmla="*/ 2147483647 h 94"/>
                <a:gd name="T18" fmla="*/ 2147483647 w 66"/>
                <a:gd name="T19" fmla="*/ 2147483647 h 94"/>
                <a:gd name="T20" fmla="*/ 2147483647 w 66"/>
                <a:gd name="T21" fmla="*/ 2147483647 h 94"/>
                <a:gd name="T22" fmla="*/ 2147483647 w 66"/>
                <a:gd name="T23" fmla="*/ 2147483647 h 94"/>
                <a:gd name="T24" fmla="*/ 2147483647 w 66"/>
                <a:gd name="T25" fmla="*/ 2147483647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37"/>
            <p:cNvSpPr>
              <a:spLocks/>
            </p:cNvSpPr>
            <p:nvPr userDrawn="1"/>
          </p:nvSpPr>
          <p:spPr bwMode="auto">
            <a:xfrm>
              <a:off x="3303588" y="3448050"/>
              <a:ext cx="136525" cy="149225"/>
            </a:xfrm>
            <a:custGeom>
              <a:avLst/>
              <a:gdLst>
                <a:gd name="T0" fmla="*/ 2147483647 w 43"/>
                <a:gd name="T1" fmla="*/ 0 h 47"/>
                <a:gd name="T2" fmla="*/ 2147483647 w 43"/>
                <a:gd name="T3" fmla="*/ 2147483647 h 47"/>
                <a:gd name="T4" fmla="*/ 2147483647 w 43"/>
                <a:gd name="T5" fmla="*/ 2147483647 h 47"/>
                <a:gd name="T6" fmla="*/ 2147483647 w 43"/>
                <a:gd name="T7" fmla="*/ 2147483647 h 47"/>
                <a:gd name="T8" fmla="*/ 2147483647 w 43"/>
                <a:gd name="T9" fmla="*/ 2147483647 h 47"/>
                <a:gd name="T10" fmla="*/ 0 w 43"/>
                <a:gd name="T11" fmla="*/ 0 h 47"/>
                <a:gd name="T12" fmla="*/ 2147483647 w 43"/>
                <a:gd name="T13" fmla="*/ 0 h 47"/>
                <a:gd name="T14" fmla="*/ 2147483647 w 43"/>
                <a:gd name="T15" fmla="*/ 2147483647 h 47"/>
                <a:gd name="T16" fmla="*/ 2147483647 w 43"/>
                <a:gd name="T17" fmla="*/ 2147483647 h 47"/>
                <a:gd name="T18" fmla="*/ 2147483647 w 43"/>
                <a:gd name="T19" fmla="*/ 2147483647 h 47"/>
                <a:gd name="T20" fmla="*/ 2147483647 w 43"/>
                <a:gd name="T21" fmla="*/ 2147483647 h 47"/>
                <a:gd name="T22" fmla="*/ 2147483647 w 43"/>
                <a:gd name="T23" fmla="*/ 0 h 47"/>
                <a:gd name="T24" fmla="*/ 2147483647 w 43"/>
                <a:gd name="T25" fmla="*/ 0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38"/>
            <p:cNvSpPr>
              <a:spLocks noEditPoints="1"/>
            </p:cNvSpPr>
            <p:nvPr userDrawn="1"/>
          </p:nvSpPr>
          <p:spPr bwMode="auto">
            <a:xfrm>
              <a:off x="3446463" y="3444875"/>
              <a:ext cx="152400" cy="155575"/>
            </a:xfrm>
            <a:custGeom>
              <a:avLst/>
              <a:gdLst>
                <a:gd name="T0" fmla="*/ 2147483647 w 48"/>
                <a:gd name="T1" fmla="*/ 0 h 49"/>
                <a:gd name="T2" fmla="*/ 2147483647 w 48"/>
                <a:gd name="T3" fmla="*/ 2147483647 h 49"/>
                <a:gd name="T4" fmla="*/ 2147483647 w 48"/>
                <a:gd name="T5" fmla="*/ 2147483647 h 49"/>
                <a:gd name="T6" fmla="*/ 0 w 48"/>
                <a:gd name="T7" fmla="*/ 2147483647 h 49"/>
                <a:gd name="T8" fmla="*/ 2147483647 w 48"/>
                <a:gd name="T9" fmla="*/ 0 h 49"/>
                <a:gd name="T10" fmla="*/ 2147483647 w 48"/>
                <a:gd name="T11" fmla="*/ 2147483647 h 49"/>
                <a:gd name="T12" fmla="*/ 2147483647 w 48"/>
                <a:gd name="T13" fmla="*/ 2147483647 h 49"/>
                <a:gd name="T14" fmla="*/ 2147483647 w 48"/>
                <a:gd name="T15" fmla="*/ 2147483647 h 49"/>
                <a:gd name="T16" fmla="*/ 2147483647 w 48"/>
                <a:gd name="T17" fmla="*/ 2147483647 h 49"/>
                <a:gd name="T18" fmla="*/ 2147483647 w 48"/>
                <a:gd name="T19" fmla="*/ 2147483647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39"/>
            <p:cNvSpPr>
              <a:spLocks/>
            </p:cNvSpPr>
            <p:nvPr userDrawn="1"/>
          </p:nvSpPr>
          <p:spPr bwMode="auto">
            <a:xfrm>
              <a:off x="3633788" y="3448050"/>
              <a:ext cx="123825" cy="149225"/>
            </a:xfrm>
            <a:custGeom>
              <a:avLst/>
              <a:gdLst>
                <a:gd name="T0" fmla="*/ 2147483647 w 39"/>
                <a:gd name="T1" fmla="*/ 0 h 47"/>
                <a:gd name="T2" fmla="*/ 2147483647 w 39"/>
                <a:gd name="T3" fmla="*/ 2147483647 h 47"/>
                <a:gd name="T4" fmla="*/ 2147483647 w 39"/>
                <a:gd name="T5" fmla="*/ 2147483647 h 47"/>
                <a:gd name="T6" fmla="*/ 2147483647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2147483647 h 47"/>
                <a:gd name="T12" fmla="*/ 2147483647 w 39"/>
                <a:gd name="T13" fmla="*/ 2147483647 h 47"/>
                <a:gd name="T14" fmla="*/ 2147483647 w 39"/>
                <a:gd name="T15" fmla="*/ 2147483647 h 47"/>
                <a:gd name="T16" fmla="*/ 0 w 39"/>
                <a:gd name="T17" fmla="*/ 2147483647 h 47"/>
                <a:gd name="T18" fmla="*/ 0 w 39"/>
                <a:gd name="T19" fmla="*/ 0 h 47"/>
                <a:gd name="T20" fmla="*/ 2147483647 w 39"/>
                <a:gd name="T21" fmla="*/ 0 h 47"/>
                <a:gd name="T22" fmla="*/ 2147483647 w 39"/>
                <a:gd name="T23" fmla="*/ 2147483647 h 47"/>
                <a:gd name="T24" fmla="*/ 2147483647 w 39"/>
                <a:gd name="T25" fmla="*/ 2147483647 h 47"/>
                <a:gd name="T26" fmla="*/ 2147483647 w 39"/>
                <a:gd name="T27" fmla="*/ 2147483647 h 47"/>
                <a:gd name="T28" fmla="*/ 2147483647 w 39"/>
                <a:gd name="T29" fmla="*/ 2147483647 h 47"/>
                <a:gd name="T30" fmla="*/ 2147483647 w 39"/>
                <a:gd name="T31" fmla="*/ 0 h 47"/>
                <a:gd name="T32" fmla="*/ 2147483647 w 39"/>
                <a:gd name="T33" fmla="*/ 0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" name="Freeform 40"/>
            <p:cNvSpPr>
              <a:spLocks noEditPoints="1"/>
            </p:cNvSpPr>
            <p:nvPr userDrawn="1"/>
          </p:nvSpPr>
          <p:spPr bwMode="auto">
            <a:xfrm>
              <a:off x="3805238" y="3448050"/>
              <a:ext cx="139700" cy="149225"/>
            </a:xfrm>
            <a:custGeom>
              <a:avLst/>
              <a:gdLst>
                <a:gd name="T0" fmla="*/ 2147483647 w 44"/>
                <a:gd name="T1" fmla="*/ 0 h 47"/>
                <a:gd name="T2" fmla="*/ 2147483647 w 44"/>
                <a:gd name="T3" fmla="*/ 2147483647 h 47"/>
                <a:gd name="T4" fmla="*/ 2147483647 w 44"/>
                <a:gd name="T5" fmla="*/ 2147483647 h 47"/>
                <a:gd name="T6" fmla="*/ 0 w 44"/>
                <a:gd name="T7" fmla="*/ 2147483647 h 47"/>
                <a:gd name="T8" fmla="*/ 0 w 44"/>
                <a:gd name="T9" fmla="*/ 0 h 47"/>
                <a:gd name="T10" fmla="*/ 2147483647 w 44"/>
                <a:gd name="T11" fmla="*/ 0 h 47"/>
                <a:gd name="T12" fmla="*/ 2147483647 w 44"/>
                <a:gd name="T13" fmla="*/ 2147483647 h 47"/>
                <a:gd name="T14" fmla="*/ 2147483647 w 44"/>
                <a:gd name="T15" fmla="*/ 2147483647 h 47"/>
                <a:gd name="T16" fmla="*/ 2147483647 w 44"/>
                <a:gd name="T17" fmla="*/ 2147483647 h 47"/>
                <a:gd name="T18" fmla="*/ 2147483647 w 44"/>
                <a:gd name="T19" fmla="*/ 2147483647 h 47"/>
                <a:gd name="T20" fmla="*/ 2147483647 w 44"/>
                <a:gd name="T21" fmla="*/ 2147483647 h 47"/>
                <a:gd name="T22" fmla="*/ 2147483647 w 44"/>
                <a:gd name="T23" fmla="*/ 2147483647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Freeform 41"/>
            <p:cNvSpPr>
              <a:spLocks/>
            </p:cNvSpPr>
            <p:nvPr userDrawn="1"/>
          </p:nvSpPr>
          <p:spPr bwMode="auto">
            <a:xfrm>
              <a:off x="4027488" y="3448050"/>
              <a:ext cx="117475" cy="149225"/>
            </a:xfrm>
            <a:custGeom>
              <a:avLst/>
              <a:gdLst>
                <a:gd name="T0" fmla="*/ 2147483647 w 74"/>
                <a:gd name="T1" fmla="*/ 0 h 94"/>
                <a:gd name="T2" fmla="*/ 2147483647 w 74"/>
                <a:gd name="T3" fmla="*/ 2147483647 h 94"/>
                <a:gd name="T4" fmla="*/ 2147483647 w 74"/>
                <a:gd name="T5" fmla="*/ 2147483647 h 94"/>
                <a:gd name="T6" fmla="*/ 2147483647 w 74"/>
                <a:gd name="T7" fmla="*/ 2147483647 h 94"/>
                <a:gd name="T8" fmla="*/ 2147483647 w 74"/>
                <a:gd name="T9" fmla="*/ 2147483647 h 94"/>
                <a:gd name="T10" fmla="*/ 2147483647 w 74"/>
                <a:gd name="T11" fmla="*/ 2147483647 h 94"/>
                <a:gd name="T12" fmla="*/ 0 w 74"/>
                <a:gd name="T13" fmla="*/ 2147483647 h 94"/>
                <a:gd name="T14" fmla="*/ 0 w 74"/>
                <a:gd name="T15" fmla="*/ 0 h 94"/>
                <a:gd name="T16" fmla="*/ 2147483647 w 74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" name="Freeform 42"/>
            <p:cNvSpPr>
              <a:spLocks/>
            </p:cNvSpPr>
            <p:nvPr userDrawn="1"/>
          </p:nvSpPr>
          <p:spPr bwMode="auto">
            <a:xfrm>
              <a:off x="4176713" y="3448050"/>
              <a:ext cx="120650" cy="149225"/>
            </a:xfrm>
            <a:custGeom>
              <a:avLst/>
              <a:gdLst>
                <a:gd name="T0" fmla="*/ 2147483647 w 76"/>
                <a:gd name="T1" fmla="*/ 0 h 94"/>
                <a:gd name="T2" fmla="*/ 2147483647 w 76"/>
                <a:gd name="T3" fmla="*/ 2147483647 h 94"/>
                <a:gd name="T4" fmla="*/ 2147483647 w 76"/>
                <a:gd name="T5" fmla="*/ 2147483647 h 94"/>
                <a:gd name="T6" fmla="*/ 2147483647 w 76"/>
                <a:gd name="T7" fmla="*/ 2147483647 h 94"/>
                <a:gd name="T8" fmla="*/ 2147483647 w 76"/>
                <a:gd name="T9" fmla="*/ 2147483647 h 94"/>
                <a:gd name="T10" fmla="*/ 2147483647 w 76"/>
                <a:gd name="T11" fmla="*/ 2147483647 h 94"/>
                <a:gd name="T12" fmla="*/ 0 w 76"/>
                <a:gd name="T13" fmla="*/ 2147483647 h 94"/>
                <a:gd name="T14" fmla="*/ 0 w 76"/>
                <a:gd name="T15" fmla="*/ 0 h 94"/>
                <a:gd name="T16" fmla="*/ 2147483647 w 76"/>
                <a:gd name="T17" fmla="*/ 0 h 94"/>
                <a:gd name="T18" fmla="*/ 2147483647 w 76"/>
                <a:gd name="T19" fmla="*/ 2147483647 h 94"/>
                <a:gd name="T20" fmla="*/ 2147483647 w 76"/>
                <a:gd name="T21" fmla="*/ 2147483647 h 94"/>
                <a:gd name="T22" fmla="*/ 2147483647 w 76"/>
                <a:gd name="T23" fmla="*/ 0 h 94"/>
                <a:gd name="T24" fmla="*/ 2147483647 w 76"/>
                <a:gd name="T25" fmla="*/ 0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" name="Freeform 43"/>
            <p:cNvSpPr>
              <a:spLocks/>
            </p:cNvSpPr>
            <p:nvPr userDrawn="1"/>
          </p:nvSpPr>
          <p:spPr bwMode="auto">
            <a:xfrm>
              <a:off x="4341813" y="3448050"/>
              <a:ext cx="104775" cy="149225"/>
            </a:xfrm>
            <a:custGeom>
              <a:avLst/>
              <a:gdLst>
                <a:gd name="T0" fmla="*/ 2147483647 w 66"/>
                <a:gd name="T1" fmla="*/ 2147483647 h 94"/>
                <a:gd name="T2" fmla="*/ 2147483647 w 66"/>
                <a:gd name="T3" fmla="*/ 2147483647 h 94"/>
                <a:gd name="T4" fmla="*/ 0 w 66"/>
                <a:gd name="T5" fmla="*/ 2147483647 h 94"/>
                <a:gd name="T6" fmla="*/ 0 w 66"/>
                <a:gd name="T7" fmla="*/ 0 h 94"/>
                <a:gd name="T8" fmla="*/ 2147483647 w 66"/>
                <a:gd name="T9" fmla="*/ 0 h 94"/>
                <a:gd name="T10" fmla="*/ 2147483647 w 66"/>
                <a:gd name="T11" fmla="*/ 2147483647 h 94"/>
                <a:gd name="T12" fmla="*/ 2147483647 w 66"/>
                <a:gd name="T13" fmla="*/ 2147483647 h 94"/>
                <a:gd name="T14" fmla="*/ 2147483647 w 66"/>
                <a:gd name="T15" fmla="*/ 2147483647 h 94"/>
                <a:gd name="T16" fmla="*/ 2147483647 w 66"/>
                <a:gd name="T17" fmla="*/ 2147483647 h 94"/>
                <a:gd name="T18" fmla="*/ 2147483647 w 66"/>
                <a:gd name="T19" fmla="*/ 2147483647 h 94"/>
                <a:gd name="T20" fmla="*/ 2147483647 w 66"/>
                <a:gd name="T21" fmla="*/ 2147483647 h 94"/>
                <a:gd name="T22" fmla="*/ 2147483647 w 66"/>
                <a:gd name="T23" fmla="*/ 2147483647 h 94"/>
                <a:gd name="T24" fmla="*/ 2147483647 w 66"/>
                <a:gd name="T25" fmla="*/ 2147483647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3" name="Freeform 44"/>
            <p:cNvSpPr>
              <a:spLocks/>
            </p:cNvSpPr>
            <p:nvPr userDrawn="1"/>
          </p:nvSpPr>
          <p:spPr bwMode="auto">
            <a:xfrm>
              <a:off x="4538663" y="3444875"/>
              <a:ext cx="146050" cy="155575"/>
            </a:xfrm>
            <a:custGeom>
              <a:avLst/>
              <a:gdLst>
                <a:gd name="T0" fmla="*/ 2147483647 w 46"/>
                <a:gd name="T1" fmla="*/ 2147483647 h 49"/>
                <a:gd name="T2" fmla="*/ 2147483647 w 46"/>
                <a:gd name="T3" fmla="*/ 2147483647 h 49"/>
                <a:gd name="T4" fmla="*/ 2147483647 w 46"/>
                <a:gd name="T5" fmla="*/ 2147483647 h 49"/>
                <a:gd name="T6" fmla="*/ 2147483647 w 46"/>
                <a:gd name="T7" fmla="*/ 2147483647 h 49"/>
                <a:gd name="T8" fmla="*/ 2147483647 w 46"/>
                <a:gd name="T9" fmla="*/ 2147483647 h 49"/>
                <a:gd name="T10" fmla="*/ 2147483647 w 46"/>
                <a:gd name="T11" fmla="*/ 2147483647 h 49"/>
                <a:gd name="T12" fmla="*/ 2147483647 w 46"/>
                <a:gd name="T13" fmla="*/ 2147483647 h 49"/>
                <a:gd name="T14" fmla="*/ 0 w 46"/>
                <a:gd name="T15" fmla="*/ 2147483647 h 49"/>
                <a:gd name="T16" fmla="*/ 2147483647 w 46"/>
                <a:gd name="T17" fmla="*/ 0 h 49"/>
                <a:gd name="T18" fmla="*/ 2147483647 w 46"/>
                <a:gd name="T19" fmla="*/ 2147483647 h 49"/>
                <a:gd name="T20" fmla="*/ 2147483647 w 46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4" name="Freeform 45"/>
            <p:cNvSpPr>
              <a:spLocks noEditPoints="1"/>
            </p:cNvSpPr>
            <p:nvPr userDrawn="1"/>
          </p:nvSpPr>
          <p:spPr bwMode="auto">
            <a:xfrm>
              <a:off x="4706938" y="3444875"/>
              <a:ext cx="155575" cy="155575"/>
            </a:xfrm>
            <a:custGeom>
              <a:avLst/>
              <a:gdLst>
                <a:gd name="T0" fmla="*/ 2147483647 w 49"/>
                <a:gd name="T1" fmla="*/ 0 h 49"/>
                <a:gd name="T2" fmla="*/ 2147483647 w 49"/>
                <a:gd name="T3" fmla="*/ 2147483647 h 49"/>
                <a:gd name="T4" fmla="*/ 2147483647 w 49"/>
                <a:gd name="T5" fmla="*/ 2147483647 h 49"/>
                <a:gd name="T6" fmla="*/ 0 w 49"/>
                <a:gd name="T7" fmla="*/ 2147483647 h 49"/>
                <a:gd name="T8" fmla="*/ 2147483647 w 49"/>
                <a:gd name="T9" fmla="*/ 0 h 49"/>
                <a:gd name="T10" fmla="*/ 2147483647 w 49"/>
                <a:gd name="T11" fmla="*/ 2147483647 h 49"/>
                <a:gd name="T12" fmla="*/ 2147483647 w 49"/>
                <a:gd name="T13" fmla="*/ 2147483647 h 49"/>
                <a:gd name="T14" fmla="*/ 2147483647 w 49"/>
                <a:gd name="T15" fmla="*/ 2147483647 h 49"/>
                <a:gd name="T16" fmla="*/ 2147483647 w 49"/>
                <a:gd name="T17" fmla="*/ 2147483647 h 49"/>
                <a:gd name="T18" fmla="*/ 2147483647 w 49"/>
                <a:gd name="T19" fmla="*/ 2147483647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5" name="Freeform 46"/>
            <p:cNvSpPr>
              <a:spLocks/>
            </p:cNvSpPr>
            <p:nvPr userDrawn="1"/>
          </p:nvSpPr>
          <p:spPr bwMode="auto">
            <a:xfrm>
              <a:off x="4894263" y="3448050"/>
              <a:ext cx="127000" cy="149225"/>
            </a:xfrm>
            <a:custGeom>
              <a:avLst/>
              <a:gdLst>
                <a:gd name="T0" fmla="*/ 2147483647 w 40"/>
                <a:gd name="T1" fmla="*/ 0 h 47"/>
                <a:gd name="T2" fmla="*/ 2147483647 w 40"/>
                <a:gd name="T3" fmla="*/ 2147483647 h 47"/>
                <a:gd name="T4" fmla="*/ 2147483647 w 40"/>
                <a:gd name="T5" fmla="*/ 2147483647 h 47"/>
                <a:gd name="T6" fmla="*/ 2147483647 w 40"/>
                <a:gd name="T7" fmla="*/ 2147483647 h 47"/>
                <a:gd name="T8" fmla="*/ 2147483647 w 40"/>
                <a:gd name="T9" fmla="*/ 2147483647 h 47"/>
                <a:gd name="T10" fmla="*/ 2147483647 w 40"/>
                <a:gd name="T11" fmla="*/ 2147483647 h 47"/>
                <a:gd name="T12" fmla="*/ 2147483647 w 40"/>
                <a:gd name="T13" fmla="*/ 2147483647 h 47"/>
                <a:gd name="T14" fmla="*/ 2147483647 w 40"/>
                <a:gd name="T15" fmla="*/ 2147483647 h 47"/>
                <a:gd name="T16" fmla="*/ 0 w 40"/>
                <a:gd name="T17" fmla="*/ 2147483647 h 47"/>
                <a:gd name="T18" fmla="*/ 0 w 40"/>
                <a:gd name="T19" fmla="*/ 0 h 47"/>
                <a:gd name="T20" fmla="*/ 2147483647 w 40"/>
                <a:gd name="T21" fmla="*/ 0 h 47"/>
                <a:gd name="T22" fmla="*/ 2147483647 w 40"/>
                <a:gd name="T23" fmla="*/ 2147483647 h 47"/>
                <a:gd name="T24" fmla="*/ 2147483647 w 40"/>
                <a:gd name="T25" fmla="*/ 2147483647 h 47"/>
                <a:gd name="T26" fmla="*/ 2147483647 w 40"/>
                <a:gd name="T27" fmla="*/ 2147483647 h 47"/>
                <a:gd name="T28" fmla="*/ 2147483647 w 40"/>
                <a:gd name="T29" fmla="*/ 2147483647 h 47"/>
                <a:gd name="T30" fmla="*/ 2147483647 w 40"/>
                <a:gd name="T31" fmla="*/ 0 h 47"/>
                <a:gd name="T32" fmla="*/ 2147483647 w 40"/>
                <a:gd name="T33" fmla="*/ 0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6" name="Freeform 47"/>
            <p:cNvSpPr>
              <a:spLocks/>
            </p:cNvSpPr>
            <p:nvPr userDrawn="1"/>
          </p:nvSpPr>
          <p:spPr bwMode="auto">
            <a:xfrm>
              <a:off x="5049838" y="3448050"/>
              <a:ext cx="120650" cy="149225"/>
            </a:xfrm>
            <a:custGeom>
              <a:avLst/>
              <a:gdLst>
                <a:gd name="T0" fmla="*/ 2147483647 w 76"/>
                <a:gd name="T1" fmla="*/ 0 h 94"/>
                <a:gd name="T2" fmla="*/ 2147483647 w 76"/>
                <a:gd name="T3" fmla="*/ 2147483647 h 94"/>
                <a:gd name="T4" fmla="*/ 2147483647 w 76"/>
                <a:gd name="T5" fmla="*/ 2147483647 h 94"/>
                <a:gd name="T6" fmla="*/ 2147483647 w 76"/>
                <a:gd name="T7" fmla="*/ 2147483647 h 94"/>
                <a:gd name="T8" fmla="*/ 2147483647 w 76"/>
                <a:gd name="T9" fmla="*/ 2147483647 h 94"/>
                <a:gd name="T10" fmla="*/ 2147483647 w 76"/>
                <a:gd name="T11" fmla="*/ 2147483647 h 94"/>
                <a:gd name="T12" fmla="*/ 0 w 76"/>
                <a:gd name="T13" fmla="*/ 2147483647 h 94"/>
                <a:gd name="T14" fmla="*/ 0 w 76"/>
                <a:gd name="T15" fmla="*/ 0 h 94"/>
                <a:gd name="T16" fmla="*/ 2147483647 w 76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Freeform 48"/>
            <p:cNvSpPr>
              <a:spLocks noEditPoints="1"/>
            </p:cNvSpPr>
            <p:nvPr userDrawn="1"/>
          </p:nvSpPr>
          <p:spPr bwMode="auto">
            <a:xfrm>
              <a:off x="5202238" y="3448050"/>
              <a:ext cx="111125" cy="149225"/>
            </a:xfrm>
            <a:custGeom>
              <a:avLst/>
              <a:gdLst>
                <a:gd name="T0" fmla="*/ 2147483647 w 35"/>
                <a:gd name="T1" fmla="*/ 2147483647 h 47"/>
                <a:gd name="T2" fmla="*/ 2147483647 w 35"/>
                <a:gd name="T3" fmla="*/ 2147483647 h 47"/>
                <a:gd name="T4" fmla="*/ 2147483647 w 35"/>
                <a:gd name="T5" fmla="*/ 2147483647 h 47"/>
                <a:gd name="T6" fmla="*/ 2147483647 w 35"/>
                <a:gd name="T7" fmla="*/ 2147483647 h 47"/>
                <a:gd name="T8" fmla="*/ 2147483647 w 35"/>
                <a:gd name="T9" fmla="*/ 2147483647 h 47"/>
                <a:gd name="T10" fmla="*/ 0 w 35"/>
                <a:gd name="T11" fmla="*/ 2147483647 h 47"/>
                <a:gd name="T12" fmla="*/ 0 w 35"/>
                <a:gd name="T13" fmla="*/ 0 h 47"/>
                <a:gd name="T14" fmla="*/ 2147483647 w 35"/>
                <a:gd name="T15" fmla="*/ 0 h 47"/>
                <a:gd name="T16" fmla="*/ 2147483647 w 35"/>
                <a:gd name="T17" fmla="*/ 2147483647 h 47"/>
                <a:gd name="T18" fmla="*/ 2147483647 w 35"/>
                <a:gd name="T19" fmla="*/ 2147483647 h 47"/>
                <a:gd name="T20" fmla="*/ 2147483647 w 35"/>
                <a:gd name="T21" fmla="*/ 2147483647 h 47"/>
                <a:gd name="T22" fmla="*/ 2147483647 w 35"/>
                <a:gd name="T23" fmla="*/ 2147483647 h 47"/>
                <a:gd name="T24" fmla="*/ 2147483647 w 35"/>
                <a:gd name="T25" fmla="*/ 2147483647 h 47"/>
                <a:gd name="T26" fmla="*/ 2147483647 w 35"/>
                <a:gd name="T27" fmla="*/ 2147483647 h 47"/>
                <a:gd name="T28" fmla="*/ 2147483647 w 35"/>
                <a:gd name="T29" fmla="*/ 2147483647 h 47"/>
                <a:gd name="T30" fmla="*/ 2147483647 w 35"/>
                <a:gd name="T31" fmla="*/ 2147483647 h 47"/>
                <a:gd name="T32" fmla="*/ 2147483647 w 35"/>
                <a:gd name="T33" fmla="*/ 2147483647 h 47"/>
                <a:gd name="T34" fmla="*/ 2147483647 w 35"/>
                <a:gd name="T35" fmla="*/ 2147483647 h 4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" name="Freeform 49"/>
            <p:cNvSpPr>
              <a:spLocks noEditPoints="1"/>
            </p:cNvSpPr>
            <p:nvPr userDrawn="1"/>
          </p:nvSpPr>
          <p:spPr bwMode="auto">
            <a:xfrm>
              <a:off x="5332413" y="3448050"/>
              <a:ext cx="146050" cy="149225"/>
            </a:xfrm>
            <a:custGeom>
              <a:avLst/>
              <a:gdLst>
                <a:gd name="T0" fmla="*/ 2147483647 w 46"/>
                <a:gd name="T1" fmla="*/ 2147483647 h 47"/>
                <a:gd name="T2" fmla="*/ 2147483647 w 46"/>
                <a:gd name="T3" fmla="*/ 2147483647 h 47"/>
                <a:gd name="T4" fmla="*/ 2147483647 w 46"/>
                <a:gd name="T5" fmla="*/ 2147483647 h 47"/>
                <a:gd name="T6" fmla="*/ 0 w 46"/>
                <a:gd name="T7" fmla="*/ 2147483647 h 47"/>
                <a:gd name="T8" fmla="*/ 2147483647 w 46"/>
                <a:gd name="T9" fmla="*/ 0 h 47"/>
                <a:gd name="T10" fmla="*/ 2147483647 w 46"/>
                <a:gd name="T11" fmla="*/ 0 h 47"/>
                <a:gd name="T12" fmla="*/ 2147483647 w 46"/>
                <a:gd name="T13" fmla="*/ 2147483647 h 47"/>
                <a:gd name="T14" fmla="*/ 2147483647 w 46"/>
                <a:gd name="T15" fmla="*/ 2147483647 h 47"/>
                <a:gd name="T16" fmla="*/ 2147483647 w 46"/>
                <a:gd name="T17" fmla="*/ 2147483647 h 47"/>
                <a:gd name="T18" fmla="*/ 2147483647 w 46"/>
                <a:gd name="T19" fmla="*/ 2147483647 h 47"/>
                <a:gd name="T20" fmla="*/ 2147483647 w 46"/>
                <a:gd name="T21" fmla="*/ 2147483647 h 47"/>
                <a:gd name="T22" fmla="*/ 2147483647 w 46"/>
                <a:gd name="T23" fmla="*/ 2147483647 h 47"/>
                <a:gd name="T24" fmla="*/ 2147483647 w 46"/>
                <a:gd name="T25" fmla="*/ 2147483647 h 47"/>
                <a:gd name="T26" fmla="*/ 2147483647 w 46"/>
                <a:gd name="T27" fmla="*/ 2147483647 h 47"/>
                <a:gd name="T28" fmla="*/ 2147483647 w 46"/>
                <a:gd name="T29" fmla="*/ 2147483647 h 47"/>
                <a:gd name="T30" fmla="*/ 2147483647 w 46"/>
                <a:gd name="T31" fmla="*/ 2147483647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" name="Freeform 50"/>
            <p:cNvSpPr>
              <a:spLocks/>
            </p:cNvSpPr>
            <p:nvPr userDrawn="1"/>
          </p:nvSpPr>
          <p:spPr bwMode="auto">
            <a:xfrm>
              <a:off x="5491163" y="3444875"/>
              <a:ext cx="146050" cy="155575"/>
            </a:xfrm>
            <a:custGeom>
              <a:avLst/>
              <a:gdLst>
                <a:gd name="T0" fmla="*/ 2147483647 w 46"/>
                <a:gd name="T1" fmla="*/ 2147483647 h 49"/>
                <a:gd name="T2" fmla="*/ 2147483647 w 46"/>
                <a:gd name="T3" fmla="*/ 2147483647 h 49"/>
                <a:gd name="T4" fmla="*/ 2147483647 w 46"/>
                <a:gd name="T5" fmla="*/ 2147483647 h 49"/>
                <a:gd name="T6" fmla="*/ 2147483647 w 46"/>
                <a:gd name="T7" fmla="*/ 2147483647 h 49"/>
                <a:gd name="T8" fmla="*/ 2147483647 w 46"/>
                <a:gd name="T9" fmla="*/ 2147483647 h 49"/>
                <a:gd name="T10" fmla="*/ 2147483647 w 46"/>
                <a:gd name="T11" fmla="*/ 2147483647 h 49"/>
                <a:gd name="T12" fmla="*/ 2147483647 w 46"/>
                <a:gd name="T13" fmla="*/ 2147483647 h 49"/>
                <a:gd name="T14" fmla="*/ 0 w 46"/>
                <a:gd name="T15" fmla="*/ 2147483647 h 49"/>
                <a:gd name="T16" fmla="*/ 2147483647 w 46"/>
                <a:gd name="T17" fmla="*/ 0 h 49"/>
                <a:gd name="T18" fmla="*/ 2147483647 w 46"/>
                <a:gd name="T19" fmla="*/ 2147483647 h 49"/>
                <a:gd name="T20" fmla="*/ 2147483647 w 46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" name="Freeform 51"/>
            <p:cNvSpPr>
              <a:spLocks/>
            </p:cNvSpPr>
            <p:nvPr userDrawn="1"/>
          </p:nvSpPr>
          <p:spPr bwMode="auto">
            <a:xfrm>
              <a:off x="5653088" y="3448050"/>
              <a:ext cx="120650" cy="149225"/>
            </a:xfrm>
            <a:custGeom>
              <a:avLst/>
              <a:gdLst>
                <a:gd name="T0" fmla="*/ 2147483647 w 76"/>
                <a:gd name="T1" fmla="*/ 0 h 94"/>
                <a:gd name="T2" fmla="*/ 2147483647 w 76"/>
                <a:gd name="T3" fmla="*/ 2147483647 h 94"/>
                <a:gd name="T4" fmla="*/ 2147483647 w 76"/>
                <a:gd name="T5" fmla="*/ 2147483647 h 94"/>
                <a:gd name="T6" fmla="*/ 2147483647 w 76"/>
                <a:gd name="T7" fmla="*/ 2147483647 h 94"/>
                <a:gd name="T8" fmla="*/ 2147483647 w 76"/>
                <a:gd name="T9" fmla="*/ 2147483647 h 94"/>
                <a:gd name="T10" fmla="*/ 2147483647 w 76"/>
                <a:gd name="T11" fmla="*/ 2147483647 h 94"/>
                <a:gd name="T12" fmla="*/ 0 w 76"/>
                <a:gd name="T13" fmla="*/ 2147483647 h 94"/>
                <a:gd name="T14" fmla="*/ 0 w 76"/>
                <a:gd name="T15" fmla="*/ 0 h 94"/>
                <a:gd name="T16" fmla="*/ 2147483647 w 76"/>
                <a:gd name="T17" fmla="*/ 0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1" name="Freeform 52"/>
            <p:cNvSpPr>
              <a:spLocks/>
            </p:cNvSpPr>
            <p:nvPr userDrawn="1"/>
          </p:nvSpPr>
          <p:spPr bwMode="auto">
            <a:xfrm>
              <a:off x="4402138" y="2797175"/>
              <a:ext cx="60325" cy="88900"/>
            </a:xfrm>
            <a:custGeom>
              <a:avLst/>
              <a:gdLst>
                <a:gd name="T0" fmla="*/ 2147483647 w 19"/>
                <a:gd name="T1" fmla="*/ 2147483647 h 28"/>
                <a:gd name="T2" fmla="*/ 2147483647 w 19"/>
                <a:gd name="T3" fmla="*/ 2147483647 h 28"/>
                <a:gd name="T4" fmla="*/ 2147483647 w 19"/>
                <a:gd name="T5" fmla="*/ 2147483647 h 28"/>
                <a:gd name="T6" fmla="*/ 2147483647 w 19"/>
                <a:gd name="T7" fmla="*/ 2147483647 h 28"/>
                <a:gd name="T8" fmla="*/ 2147483647 w 19"/>
                <a:gd name="T9" fmla="*/ 2147483647 h 28"/>
                <a:gd name="T10" fmla="*/ 2147483647 w 19"/>
                <a:gd name="T11" fmla="*/ 2147483647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2" name="Freeform 53"/>
            <p:cNvSpPr>
              <a:spLocks/>
            </p:cNvSpPr>
            <p:nvPr userDrawn="1"/>
          </p:nvSpPr>
          <p:spPr bwMode="auto">
            <a:xfrm>
              <a:off x="6319838" y="2781300"/>
              <a:ext cx="60325" cy="85725"/>
            </a:xfrm>
            <a:custGeom>
              <a:avLst/>
              <a:gdLst>
                <a:gd name="T0" fmla="*/ 2147483647 w 19"/>
                <a:gd name="T1" fmla="*/ 2147483647 h 27"/>
                <a:gd name="T2" fmla="*/ 2147483647 w 19"/>
                <a:gd name="T3" fmla="*/ 2147483647 h 27"/>
                <a:gd name="T4" fmla="*/ 2147483647 w 19"/>
                <a:gd name="T5" fmla="*/ 2147483647 h 27"/>
                <a:gd name="T6" fmla="*/ 2147483647 w 19"/>
                <a:gd name="T7" fmla="*/ 2147483647 h 27"/>
                <a:gd name="T8" fmla="*/ 2147483647 w 19"/>
                <a:gd name="T9" fmla="*/ 2147483647 h 27"/>
                <a:gd name="T10" fmla="*/ 2147483647 w 19"/>
                <a:gd name="T11" fmla="*/ 2147483647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3" name="Freeform 54"/>
            <p:cNvSpPr>
              <a:spLocks noEditPoints="1"/>
            </p:cNvSpPr>
            <p:nvPr userDrawn="1"/>
          </p:nvSpPr>
          <p:spPr bwMode="auto">
            <a:xfrm>
              <a:off x="2074863" y="2765425"/>
              <a:ext cx="1362075" cy="650875"/>
            </a:xfrm>
            <a:custGeom>
              <a:avLst/>
              <a:gdLst>
                <a:gd name="T0" fmla="*/ 2147483647 w 429"/>
                <a:gd name="T1" fmla="*/ 2147483647 h 205"/>
                <a:gd name="T2" fmla="*/ 2147483647 w 429"/>
                <a:gd name="T3" fmla="*/ 2147483647 h 205"/>
                <a:gd name="T4" fmla="*/ 2147483647 w 429"/>
                <a:gd name="T5" fmla="*/ 2147483647 h 205"/>
                <a:gd name="T6" fmla="*/ 2147483647 w 429"/>
                <a:gd name="T7" fmla="*/ 2147483647 h 205"/>
                <a:gd name="T8" fmla="*/ 2147483647 w 429"/>
                <a:gd name="T9" fmla="*/ 2147483647 h 205"/>
                <a:gd name="T10" fmla="*/ 2147483647 w 429"/>
                <a:gd name="T11" fmla="*/ 2147483647 h 205"/>
                <a:gd name="T12" fmla="*/ 2147483647 w 429"/>
                <a:gd name="T13" fmla="*/ 2147483647 h 205"/>
                <a:gd name="T14" fmla="*/ 2147483647 w 429"/>
                <a:gd name="T15" fmla="*/ 2147483647 h 205"/>
                <a:gd name="T16" fmla="*/ 2147483647 w 429"/>
                <a:gd name="T17" fmla="*/ 2147483647 h 205"/>
                <a:gd name="T18" fmla="*/ 2147483647 w 429"/>
                <a:gd name="T19" fmla="*/ 2147483647 h 205"/>
                <a:gd name="T20" fmla="*/ 2147483647 w 429"/>
                <a:gd name="T21" fmla="*/ 2147483647 h 205"/>
                <a:gd name="T22" fmla="*/ 2147483647 w 429"/>
                <a:gd name="T23" fmla="*/ 2147483647 h 205"/>
                <a:gd name="T24" fmla="*/ 2147483647 w 429"/>
                <a:gd name="T25" fmla="*/ 2147483647 h 205"/>
                <a:gd name="T26" fmla="*/ 2147483647 w 429"/>
                <a:gd name="T27" fmla="*/ 2147483647 h 205"/>
                <a:gd name="T28" fmla="*/ 2147483647 w 429"/>
                <a:gd name="T29" fmla="*/ 2147483647 h 205"/>
                <a:gd name="T30" fmla="*/ 2147483647 w 429"/>
                <a:gd name="T31" fmla="*/ 2147483647 h 205"/>
                <a:gd name="T32" fmla="*/ 2147483647 w 429"/>
                <a:gd name="T33" fmla="*/ 2147483647 h 205"/>
                <a:gd name="T34" fmla="*/ 2147483647 w 429"/>
                <a:gd name="T35" fmla="*/ 2147483647 h 205"/>
                <a:gd name="T36" fmla="*/ 2147483647 w 429"/>
                <a:gd name="T37" fmla="*/ 2147483647 h 205"/>
                <a:gd name="T38" fmla="*/ 2147483647 w 429"/>
                <a:gd name="T39" fmla="*/ 2147483647 h 205"/>
                <a:gd name="T40" fmla="*/ 2147483647 w 429"/>
                <a:gd name="T41" fmla="*/ 2147483647 h 205"/>
                <a:gd name="T42" fmla="*/ 2147483647 w 429"/>
                <a:gd name="T43" fmla="*/ 2147483647 h 205"/>
                <a:gd name="T44" fmla="*/ 2147483647 w 429"/>
                <a:gd name="T45" fmla="*/ 2147483647 h 205"/>
                <a:gd name="T46" fmla="*/ 2147483647 w 429"/>
                <a:gd name="T47" fmla="*/ 2147483647 h 205"/>
                <a:gd name="T48" fmla="*/ 2147483647 w 429"/>
                <a:gd name="T49" fmla="*/ 2147483647 h 205"/>
                <a:gd name="T50" fmla="*/ 2147483647 w 429"/>
                <a:gd name="T51" fmla="*/ 2147483647 h 205"/>
                <a:gd name="T52" fmla="*/ 2147483647 w 429"/>
                <a:gd name="T53" fmla="*/ 2147483647 h 205"/>
                <a:gd name="T54" fmla="*/ 2147483647 w 429"/>
                <a:gd name="T55" fmla="*/ 2147483647 h 205"/>
                <a:gd name="T56" fmla="*/ 2147483647 w 429"/>
                <a:gd name="T57" fmla="*/ 2147483647 h 205"/>
                <a:gd name="T58" fmla="*/ 2147483647 w 429"/>
                <a:gd name="T59" fmla="*/ 2147483647 h 205"/>
                <a:gd name="T60" fmla="*/ 2147483647 w 429"/>
                <a:gd name="T61" fmla="*/ 2147483647 h 205"/>
                <a:gd name="T62" fmla="*/ 2147483647 w 429"/>
                <a:gd name="T63" fmla="*/ 2147483647 h 205"/>
                <a:gd name="T64" fmla="*/ 2147483647 w 429"/>
                <a:gd name="T65" fmla="*/ 2147483647 h 205"/>
                <a:gd name="T66" fmla="*/ 2147483647 w 429"/>
                <a:gd name="T67" fmla="*/ 2147483647 h 205"/>
                <a:gd name="T68" fmla="*/ 2147483647 w 429"/>
                <a:gd name="T69" fmla="*/ 2147483647 h 205"/>
                <a:gd name="T70" fmla="*/ 2147483647 w 429"/>
                <a:gd name="T71" fmla="*/ 2147483647 h 205"/>
                <a:gd name="T72" fmla="*/ 2147483647 w 429"/>
                <a:gd name="T73" fmla="*/ 2147483647 h 205"/>
                <a:gd name="T74" fmla="*/ 2147483647 w 429"/>
                <a:gd name="T75" fmla="*/ 2147483647 h 205"/>
                <a:gd name="T76" fmla="*/ 2147483647 w 429"/>
                <a:gd name="T77" fmla="*/ 2147483647 h 205"/>
                <a:gd name="T78" fmla="*/ 2147483647 w 429"/>
                <a:gd name="T79" fmla="*/ 2147483647 h 205"/>
                <a:gd name="T80" fmla="*/ 2147483647 w 429"/>
                <a:gd name="T81" fmla="*/ 2147483647 h 205"/>
                <a:gd name="T82" fmla="*/ 2147483647 w 429"/>
                <a:gd name="T83" fmla="*/ 2147483647 h 205"/>
                <a:gd name="T84" fmla="*/ 2147483647 w 429"/>
                <a:gd name="T85" fmla="*/ 2147483647 h 205"/>
                <a:gd name="T86" fmla="*/ 2147483647 w 429"/>
                <a:gd name="T87" fmla="*/ 2147483647 h 205"/>
                <a:gd name="T88" fmla="*/ 2147483647 w 429"/>
                <a:gd name="T89" fmla="*/ 2147483647 h 205"/>
                <a:gd name="T90" fmla="*/ 2147483647 w 429"/>
                <a:gd name="T91" fmla="*/ 2147483647 h 2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4" name="Freeform 55"/>
            <p:cNvSpPr>
              <a:spLocks noEditPoints="1"/>
            </p:cNvSpPr>
            <p:nvPr userDrawn="1"/>
          </p:nvSpPr>
          <p:spPr bwMode="auto">
            <a:xfrm>
              <a:off x="3392488" y="2813050"/>
              <a:ext cx="1863725" cy="542925"/>
            </a:xfrm>
            <a:custGeom>
              <a:avLst/>
              <a:gdLst>
                <a:gd name="T0" fmla="*/ 2147483647 w 587"/>
                <a:gd name="T1" fmla="*/ 2147483647 h 171"/>
                <a:gd name="T2" fmla="*/ 2147483647 w 587"/>
                <a:gd name="T3" fmla="*/ 2147483647 h 171"/>
                <a:gd name="T4" fmla="*/ 2147483647 w 587"/>
                <a:gd name="T5" fmla="*/ 2147483647 h 171"/>
                <a:gd name="T6" fmla="*/ 2147483647 w 587"/>
                <a:gd name="T7" fmla="*/ 2147483647 h 171"/>
                <a:gd name="T8" fmla="*/ 2147483647 w 587"/>
                <a:gd name="T9" fmla="*/ 2147483647 h 171"/>
                <a:gd name="T10" fmla="*/ 2147483647 w 587"/>
                <a:gd name="T11" fmla="*/ 2147483647 h 171"/>
                <a:gd name="T12" fmla="*/ 2147483647 w 587"/>
                <a:gd name="T13" fmla="*/ 2147483647 h 171"/>
                <a:gd name="T14" fmla="*/ 2147483647 w 587"/>
                <a:gd name="T15" fmla="*/ 2147483647 h 171"/>
                <a:gd name="T16" fmla="*/ 2147483647 w 587"/>
                <a:gd name="T17" fmla="*/ 2147483647 h 171"/>
                <a:gd name="T18" fmla="*/ 2147483647 w 587"/>
                <a:gd name="T19" fmla="*/ 2147483647 h 171"/>
                <a:gd name="T20" fmla="*/ 2147483647 w 587"/>
                <a:gd name="T21" fmla="*/ 2147483647 h 171"/>
                <a:gd name="T22" fmla="*/ 2147483647 w 587"/>
                <a:gd name="T23" fmla="*/ 2147483647 h 171"/>
                <a:gd name="T24" fmla="*/ 2147483647 w 587"/>
                <a:gd name="T25" fmla="*/ 2147483647 h 171"/>
                <a:gd name="T26" fmla="*/ 2147483647 w 587"/>
                <a:gd name="T27" fmla="*/ 2147483647 h 171"/>
                <a:gd name="T28" fmla="*/ 2147483647 w 587"/>
                <a:gd name="T29" fmla="*/ 2147483647 h 171"/>
                <a:gd name="T30" fmla="*/ 2147483647 w 587"/>
                <a:gd name="T31" fmla="*/ 2147483647 h 171"/>
                <a:gd name="T32" fmla="*/ 2147483647 w 587"/>
                <a:gd name="T33" fmla="*/ 2147483647 h 171"/>
                <a:gd name="T34" fmla="*/ 2147483647 w 587"/>
                <a:gd name="T35" fmla="*/ 2147483647 h 171"/>
                <a:gd name="T36" fmla="*/ 2147483647 w 587"/>
                <a:gd name="T37" fmla="*/ 2147483647 h 171"/>
                <a:gd name="T38" fmla="*/ 2147483647 w 587"/>
                <a:gd name="T39" fmla="*/ 2147483647 h 171"/>
                <a:gd name="T40" fmla="*/ 2147483647 w 587"/>
                <a:gd name="T41" fmla="*/ 2147483647 h 171"/>
                <a:gd name="T42" fmla="*/ 2147483647 w 587"/>
                <a:gd name="T43" fmla="*/ 2147483647 h 171"/>
                <a:gd name="T44" fmla="*/ 2147483647 w 587"/>
                <a:gd name="T45" fmla="*/ 2147483647 h 171"/>
                <a:gd name="T46" fmla="*/ 2147483647 w 587"/>
                <a:gd name="T47" fmla="*/ 2147483647 h 171"/>
                <a:gd name="T48" fmla="*/ 2147483647 w 587"/>
                <a:gd name="T49" fmla="*/ 2147483647 h 171"/>
                <a:gd name="T50" fmla="*/ 2147483647 w 587"/>
                <a:gd name="T51" fmla="*/ 2147483647 h 171"/>
                <a:gd name="T52" fmla="*/ 2147483647 w 587"/>
                <a:gd name="T53" fmla="*/ 2147483647 h 171"/>
                <a:gd name="T54" fmla="*/ 2147483647 w 587"/>
                <a:gd name="T55" fmla="*/ 2147483647 h 171"/>
                <a:gd name="T56" fmla="*/ 2147483647 w 587"/>
                <a:gd name="T57" fmla="*/ 2147483647 h 171"/>
                <a:gd name="T58" fmla="*/ 2147483647 w 587"/>
                <a:gd name="T59" fmla="*/ 2147483647 h 171"/>
                <a:gd name="T60" fmla="*/ 2147483647 w 587"/>
                <a:gd name="T61" fmla="*/ 2147483647 h 171"/>
                <a:gd name="T62" fmla="*/ 2147483647 w 587"/>
                <a:gd name="T63" fmla="*/ 2147483647 h 171"/>
                <a:gd name="T64" fmla="*/ 2147483647 w 587"/>
                <a:gd name="T65" fmla="*/ 2147483647 h 171"/>
                <a:gd name="T66" fmla="*/ 2147483647 w 587"/>
                <a:gd name="T67" fmla="*/ 2147483647 h 171"/>
                <a:gd name="T68" fmla="*/ 2147483647 w 587"/>
                <a:gd name="T69" fmla="*/ 2147483647 h 171"/>
                <a:gd name="T70" fmla="*/ 2147483647 w 587"/>
                <a:gd name="T71" fmla="*/ 2147483647 h 171"/>
                <a:gd name="T72" fmla="*/ 2147483647 w 587"/>
                <a:gd name="T73" fmla="*/ 2147483647 h 171"/>
                <a:gd name="T74" fmla="*/ 2147483647 w 587"/>
                <a:gd name="T75" fmla="*/ 2147483647 h 171"/>
                <a:gd name="T76" fmla="*/ 2147483647 w 587"/>
                <a:gd name="T77" fmla="*/ 2147483647 h 171"/>
                <a:gd name="T78" fmla="*/ 2147483647 w 587"/>
                <a:gd name="T79" fmla="*/ 2147483647 h 171"/>
                <a:gd name="T80" fmla="*/ 2147483647 w 587"/>
                <a:gd name="T81" fmla="*/ 2147483647 h 171"/>
                <a:gd name="T82" fmla="*/ 2147483647 w 587"/>
                <a:gd name="T83" fmla="*/ 2147483647 h 171"/>
                <a:gd name="T84" fmla="*/ 2147483647 w 587"/>
                <a:gd name="T85" fmla="*/ 2147483647 h 171"/>
                <a:gd name="T86" fmla="*/ 2147483647 w 587"/>
                <a:gd name="T87" fmla="*/ 2147483647 h 171"/>
                <a:gd name="T88" fmla="*/ 2147483647 w 587"/>
                <a:gd name="T89" fmla="*/ 2147483647 h 171"/>
                <a:gd name="T90" fmla="*/ 2147483647 w 587"/>
                <a:gd name="T91" fmla="*/ 2147483647 h 171"/>
                <a:gd name="T92" fmla="*/ 2147483647 w 587"/>
                <a:gd name="T93" fmla="*/ 2147483647 h 171"/>
                <a:gd name="T94" fmla="*/ 2147483647 w 587"/>
                <a:gd name="T95" fmla="*/ 2147483647 h 171"/>
                <a:gd name="T96" fmla="*/ 2147483647 w 587"/>
                <a:gd name="T97" fmla="*/ 2147483647 h 171"/>
                <a:gd name="T98" fmla="*/ 2147483647 w 587"/>
                <a:gd name="T99" fmla="*/ 2147483647 h 171"/>
                <a:gd name="T100" fmla="*/ 2147483647 w 587"/>
                <a:gd name="T101" fmla="*/ 2147483647 h 171"/>
                <a:gd name="T102" fmla="*/ 2147483647 w 587"/>
                <a:gd name="T103" fmla="*/ 2147483647 h 171"/>
                <a:gd name="T104" fmla="*/ 2147483647 w 587"/>
                <a:gd name="T105" fmla="*/ 2147483647 h 171"/>
                <a:gd name="T106" fmla="*/ 2147483647 w 587"/>
                <a:gd name="T107" fmla="*/ 2147483647 h 171"/>
                <a:gd name="T108" fmla="*/ 2147483647 w 587"/>
                <a:gd name="T109" fmla="*/ 2147483647 h 171"/>
                <a:gd name="T110" fmla="*/ 2147483647 w 587"/>
                <a:gd name="T111" fmla="*/ 2147483647 h 17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5" name="Freeform 56"/>
            <p:cNvSpPr>
              <a:spLocks noEditPoints="1"/>
            </p:cNvSpPr>
            <p:nvPr userDrawn="1"/>
          </p:nvSpPr>
          <p:spPr bwMode="auto">
            <a:xfrm>
              <a:off x="5249863" y="2641600"/>
              <a:ext cx="1736725" cy="1060450"/>
            </a:xfrm>
            <a:custGeom>
              <a:avLst/>
              <a:gdLst>
                <a:gd name="T0" fmla="*/ 2147483647 w 547"/>
                <a:gd name="T1" fmla="*/ 2147483647 h 334"/>
                <a:gd name="T2" fmla="*/ 2147483647 w 547"/>
                <a:gd name="T3" fmla="*/ 2147483647 h 334"/>
                <a:gd name="T4" fmla="*/ 2147483647 w 547"/>
                <a:gd name="T5" fmla="*/ 2147483647 h 334"/>
                <a:gd name="T6" fmla="*/ 2147483647 w 547"/>
                <a:gd name="T7" fmla="*/ 2147483647 h 334"/>
                <a:gd name="T8" fmla="*/ 2147483647 w 547"/>
                <a:gd name="T9" fmla="*/ 2147483647 h 334"/>
                <a:gd name="T10" fmla="*/ 2147483647 w 547"/>
                <a:gd name="T11" fmla="*/ 2147483647 h 334"/>
                <a:gd name="T12" fmla="*/ 2147483647 w 547"/>
                <a:gd name="T13" fmla="*/ 2147483647 h 334"/>
                <a:gd name="T14" fmla="*/ 2147483647 w 547"/>
                <a:gd name="T15" fmla="*/ 2147483647 h 334"/>
                <a:gd name="T16" fmla="*/ 2147483647 w 547"/>
                <a:gd name="T17" fmla="*/ 2147483647 h 334"/>
                <a:gd name="T18" fmla="*/ 2147483647 w 547"/>
                <a:gd name="T19" fmla="*/ 2147483647 h 334"/>
                <a:gd name="T20" fmla="*/ 2147483647 w 547"/>
                <a:gd name="T21" fmla="*/ 2147483647 h 334"/>
                <a:gd name="T22" fmla="*/ 2147483647 w 547"/>
                <a:gd name="T23" fmla="*/ 2147483647 h 334"/>
                <a:gd name="T24" fmla="*/ 2147483647 w 547"/>
                <a:gd name="T25" fmla="*/ 2147483647 h 334"/>
                <a:gd name="T26" fmla="*/ 2147483647 w 547"/>
                <a:gd name="T27" fmla="*/ 2147483647 h 334"/>
                <a:gd name="T28" fmla="*/ 2147483647 w 547"/>
                <a:gd name="T29" fmla="*/ 2147483647 h 334"/>
                <a:gd name="T30" fmla="*/ 2147483647 w 547"/>
                <a:gd name="T31" fmla="*/ 2147483647 h 334"/>
                <a:gd name="T32" fmla="*/ 2147483647 w 547"/>
                <a:gd name="T33" fmla="*/ 2147483647 h 334"/>
                <a:gd name="T34" fmla="*/ 2147483647 w 547"/>
                <a:gd name="T35" fmla="*/ 2147483647 h 334"/>
                <a:gd name="T36" fmla="*/ 2147483647 w 547"/>
                <a:gd name="T37" fmla="*/ 2147483647 h 334"/>
                <a:gd name="T38" fmla="*/ 2147483647 w 547"/>
                <a:gd name="T39" fmla="*/ 2147483647 h 334"/>
                <a:gd name="T40" fmla="*/ 2147483647 w 547"/>
                <a:gd name="T41" fmla="*/ 2147483647 h 334"/>
                <a:gd name="T42" fmla="*/ 2147483647 w 547"/>
                <a:gd name="T43" fmla="*/ 2147483647 h 334"/>
                <a:gd name="T44" fmla="*/ 2147483647 w 547"/>
                <a:gd name="T45" fmla="*/ 2147483647 h 334"/>
                <a:gd name="T46" fmla="*/ 2147483647 w 547"/>
                <a:gd name="T47" fmla="*/ 2147483647 h 334"/>
                <a:gd name="T48" fmla="*/ 2147483647 w 547"/>
                <a:gd name="T49" fmla="*/ 2147483647 h 334"/>
                <a:gd name="T50" fmla="*/ 2147483647 w 547"/>
                <a:gd name="T51" fmla="*/ 2147483647 h 334"/>
                <a:gd name="T52" fmla="*/ 2147483647 w 547"/>
                <a:gd name="T53" fmla="*/ 2147483647 h 334"/>
                <a:gd name="T54" fmla="*/ 2147483647 w 547"/>
                <a:gd name="T55" fmla="*/ 2147483647 h 334"/>
                <a:gd name="T56" fmla="*/ 2147483647 w 547"/>
                <a:gd name="T57" fmla="*/ 2147483647 h 334"/>
                <a:gd name="T58" fmla="*/ 2147483647 w 547"/>
                <a:gd name="T59" fmla="*/ 2147483647 h 334"/>
                <a:gd name="T60" fmla="*/ 2147483647 w 547"/>
                <a:gd name="T61" fmla="*/ 2147483647 h 334"/>
                <a:gd name="T62" fmla="*/ 2147483647 w 547"/>
                <a:gd name="T63" fmla="*/ 2147483647 h 334"/>
                <a:gd name="T64" fmla="*/ 2147483647 w 547"/>
                <a:gd name="T65" fmla="*/ 2147483647 h 334"/>
                <a:gd name="T66" fmla="*/ 2147483647 w 547"/>
                <a:gd name="T67" fmla="*/ 2147483647 h 334"/>
                <a:gd name="T68" fmla="*/ 2147483647 w 547"/>
                <a:gd name="T69" fmla="*/ 2147483647 h 334"/>
                <a:gd name="T70" fmla="*/ 2147483647 w 547"/>
                <a:gd name="T71" fmla="*/ 2147483647 h 334"/>
                <a:gd name="T72" fmla="*/ 2147483647 w 547"/>
                <a:gd name="T73" fmla="*/ 2147483647 h 334"/>
                <a:gd name="T74" fmla="*/ 2147483647 w 547"/>
                <a:gd name="T75" fmla="*/ 2147483647 h 334"/>
                <a:gd name="T76" fmla="*/ 2147483647 w 547"/>
                <a:gd name="T77" fmla="*/ 2147483647 h 334"/>
                <a:gd name="T78" fmla="*/ 2147483647 w 547"/>
                <a:gd name="T79" fmla="*/ 2147483647 h 334"/>
                <a:gd name="T80" fmla="*/ 2147483647 w 547"/>
                <a:gd name="T81" fmla="*/ 2147483647 h 334"/>
                <a:gd name="T82" fmla="*/ 2147483647 w 547"/>
                <a:gd name="T83" fmla="*/ 2147483647 h 334"/>
                <a:gd name="T84" fmla="*/ 2147483647 w 547"/>
                <a:gd name="T85" fmla="*/ 2147483647 h 334"/>
                <a:gd name="T86" fmla="*/ 2147483647 w 547"/>
                <a:gd name="T87" fmla="*/ 2147483647 h 334"/>
                <a:gd name="T88" fmla="*/ 2147483647 w 547"/>
                <a:gd name="T89" fmla="*/ 2147483647 h 334"/>
                <a:gd name="T90" fmla="*/ 2147483647 w 547"/>
                <a:gd name="T91" fmla="*/ 2147483647 h 334"/>
                <a:gd name="T92" fmla="*/ 2147483647 w 547"/>
                <a:gd name="T93" fmla="*/ 2147483647 h 334"/>
                <a:gd name="T94" fmla="*/ 2147483647 w 547"/>
                <a:gd name="T95" fmla="*/ 2147483647 h 334"/>
                <a:gd name="T96" fmla="*/ 2147483647 w 547"/>
                <a:gd name="T97" fmla="*/ 2147483647 h 334"/>
                <a:gd name="T98" fmla="*/ 2147483647 w 547"/>
                <a:gd name="T99" fmla="*/ 2147483647 h 334"/>
                <a:gd name="T100" fmla="*/ 2147483647 w 547"/>
                <a:gd name="T101" fmla="*/ 2147483647 h 334"/>
                <a:gd name="T102" fmla="*/ 2147483647 w 547"/>
                <a:gd name="T103" fmla="*/ 2147483647 h 334"/>
                <a:gd name="T104" fmla="*/ 2147483647 w 547"/>
                <a:gd name="T105" fmla="*/ 2147483647 h 334"/>
                <a:gd name="T106" fmla="*/ 2147483647 w 547"/>
                <a:gd name="T107" fmla="*/ 2147483647 h 334"/>
                <a:gd name="T108" fmla="*/ 2147483647 w 547"/>
                <a:gd name="T109" fmla="*/ 2147483647 h 334"/>
                <a:gd name="T110" fmla="*/ 2147483647 w 547"/>
                <a:gd name="T111" fmla="*/ 2147483647 h 334"/>
                <a:gd name="T112" fmla="*/ 2147483647 w 547"/>
                <a:gd name="T113" fmla="*/ 2147483647 h 334"/>
                <a:gd name="T114" fmla="*/ 2147483647 w 547"/>
                <a:gd name="T115" fmla="*/ 2147483647 h 334"/>
                <a:gd name="T116" fmla="*/ 2147483647 w 547"/>
                <a:gd name="T117" fmla="*/ 2147483647 h 334"/>
                <a:gd name="T118" fmla="*/ 2147483647 w 547"/>
                <a:gd name="T119" fmla="*/ 2147483647 h 334"/>
                <a:gd name="T120" fmla="*/ 2147483647 w 547"/>
                <a:gd name="T121" fmla="*/ 2147483647 h 334"/>
                <a:gd name="T122" fmla="*/ 2147483647 w 547"/>
                <a:gd name="T123" fmla="*/ 2147483647 h 3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" name="Freeform 57"/>
            <p:cNvSpPr>
              <a:spLocks/>
            </p:cNvSpPr>
            <p:nvPr userDrawn="1"/>
          </p:nvSpPr>
          <p:spPr bwMode="auto">
            <a:xfrm>
              <a:off x="2586038" y="3209925"/>
              <a:ext cx="3708400" cy="165100"/>
            </a:xfrm>
            <a:custGeom>
              <a:avLst/>
              <a:gdLst>
                <a:gd name="T0" fmla="*/ 0 w 1168"/>
                <a:gd name="T1" fmla="*/ 2147483647 h 52"/>
                <a:gd name="T2" fmla="*/ 2147483647 w 1168"/>
                <a:gd name="T3" fmla="*/ 2147483647 h 52"/>
                <a:gd name="T4" fmla="*/ 2147483647 w 1168"/>
                <a:gd name="T5" fmla="*/ 2147483647 h 52"/>
                <a:gd name="T6" fmla="*/ 2147483647 w 1168"/>
                <a:gd name="T7" fmla="*/ 2147483647 h 52"/>
                <a:gd name="T8" fmla="*/ 2147483647 w 1168"/>
                <a:gd name="T9" fmla="*/ 2147483647 h 52"/>
                <a:gd name="T10" fmla="*/ 2147483647 w 1168"/>
                <a:gd name="T11" fmla="*/ 2147483647 h 52"/>
                <a:gd name="T12" fmla="*/ 0 w 1168"/>
                <a:gd name="T13" fmla="*/ 2147483647 h 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" name="Freeform 58"/>
            <p:cNvSpPr>
              <a:spLocks/>
            </p:cNvSpPr>
            <p:nvPr userDrawn="1"/>
          </p:nvSpPr>
          <p:spPr bwMode="auto">
            <a:xfrm>
              <a:off x="6853238" y="2724150"/>
              <a:ext cx="76200" cy="92075"/>
            </a:xfrm>
            <a:custGeom>
              <a:avLst/>
              <a:gdLst>
                <a:gd name="T0" fmla="*/ 2147483647 w 48"/>
                <a:gd name="T1" fmla="*/ 0 h 58"/>
                <a:gd name="T2" fmla="*/ 2147483647 w 48"/>
                <a:gd name="T3" fmla="*/ 2147483647 h 58"/>
                <a:gd name="T4" fmla="*/ 2147483647 w 48"/>
                <a:gd name="T5" fmla="*/ 2147483647 h 58"/>
                <a:gd name="T6" fmla="*/ 2147483647 w 48"/>
                <a:gd name="T7" fmla="*/ 2147483647 h 58"/>
                <a:gd name="T8" fmla="*/ 2147483647 w 48"/>
                <a:gd name="T9" fmla="*/ 2147483647 h 58"/>
                <a:gd name="T10" fmla="*/ 2147483647 w 48"/>
                <a:gd name="T11" fmla="*/ 2147483647 h 58"/>
                <a:gd name="T12" fmla="*/ 0 w 48"/>
                <a:gd name="T13" fmla="*/ 2147483647 h 58"/>
                <a:gd name="T14" fmla="*/ 0 w 48"/>
                <a:gd name="T15" fmla="*/ 0 h 58"/>
                <a:gd name="T16" fmla="*/ 2147483647 w 48"/>
                <a:gd name="T17" fmla="*/ 0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" name="Freeform 59"/>
            <p:cNvSpPr>
              <a:spLocks/>
            </p:cNvSpPr>
            <p:nvPr userDrawn="1"/>
          </p:nvSpPr>
          <p:spPr bwMode="auto">
            <a:xfrm>
              <a:off x="6938963" y="2724150"/>
              <a:ext cx="88900" cy="92075"/>
            </a:xfrm>
            <a:custGeom>
              <a:avLst/>
              <a:gdLst>
                <a:gd name="T0" fmla="*/ 2147483647 w 28"/>
                <a:gd name="T1" fmla="*/ 0 h 29"/>
                <a:gd name="T2" fmla="*/ 2147483647 w 28"/>
                <a:gd name="T3" fmla="*/ 2147483647 h 29"/>
                <a:gd name="T4" fmla="*/ 2147483647 w 28"/>
                <a:gd name="T5" fmla="*/ 2147483647 h 29"/>
                <a:gd name="T6" fmla="*/ 2147483647 w 28"/>
                <a:gd name="T7" fmla="*/ 2147483647 h 29"/>
                <a:gd name="T8" fmla="*/ 2147483647 w 28"/>
                <a:gd name="T9" fmla="*/ 2147483647 h 29"/>
                <a:gd name="T10" fmla="*/ 2147483647 w 28"/>
                <a:gd name="T11" fmla="*/ 2147483647 h 29"/>
                <a:gd name="T12" fmla="*/ 2147483647 w 28"/>
                <a:gd name="T13" fmla="*/ 2147483647 h 29"/>
                <a:gd name="T14" fmla="*/ 2147483647 w 28"/>
                <a:gd name="T15" fmla="*/ 2147483647 h 29"/>
                <a:gd name="T16" fmla="*/ 2147483647 w 28"/>
                <a:gd name="T17" fmla="*/ 2147483647 h 29"/>
                <a:gd name="T18" fmla="*/ 2147483647 w 28"/>
                <a:gd name="T19" fmla="*/ 2147483647 h 29"/>
                <a:gd name="T20" fmla="*/ 2147483647 w 28"/>
                <a:gd name="T21" fmla="*/ 2147483647 h 29"/>
                <a:gd name="T22" fmla="*/ 2147483647 w 28"/>
                <a:gd name="T23" fmla="*/ 2147483647 h 29"/>
                <a:gd name="T24" fmla="*/ 2147483647 w 28"/>
                <a:gd name="T25" fmla="*/ 2147483647 h 29"/>
                <a:gd name="T26" fmla="*/ 2147483647 w 28"/>
                <a:gd name="T27" fmla="*/ 2147483647 h 29"/>
                <a:gd name="T28" fmla="*/ 0 w 28"/>
                <a:gd name="T29" fmla="*/ 2147483647 h 29"/>
                <a:gd name="T30" fmla="*/ 0 w 28"/>
                <a:gd name="T31" fmla="*/ 0 h 29"/>
                <a:gd name="T32" fmla="*/ 2147483647 w 28"/>
                <a:gd name="T33" fmla="*/ 0 h 29"/>
                <a:gd name="T34" fmla="*/ 2147483647 w 28"/>
                <a:gd name="T35" fmla="*/ 2147483647 h 29"/>
                <a:gd name="T36" fmla="*/ 2147483647 w 28"/>
                <a:gd name="T37" fmla="*/ 2147483647 h 29"/>
                <a:gd name="T38" fmla="*/ 2147483647 w 28"/>
                <a:gd name="T39" fmla="*/ 2147483647 h 29"/>
                <a:gd name="T40" fmla="*/ 2147483647 w 28"/>
                <a:gd name="T41" fmla="*/ 2147483647 h 29"/>
                <a:gd name="T42" fmla="*/ 2147483647 w 28"/>
                <a:gd name="T43" fmla="*/ 0 h 29"/>
                <a:gd name="T44" fmla="*/ 2147483647 w 28"/>
                <a:gd name="T45" fmla="*/ 0 h 2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50" name="TextBox 49"/>
          <p:cNvSpPr txBox="1">
            <a:spLocks noChangeArrowheads="1"/>
          </p:cNvSpPr>
          <p:nvPr userDrawn="1"/>
        </p:nvSpPr>
        <p:spPr bwMode="auto">
          <a:xfrm>
            <a:off x="2023837" y="3706815"/>
            <a:ext cx="8144336" cy="40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803" tIns="54400" rIns="108803" bIns="54400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$7 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BILLION ENTERPRISE | 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10,000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IDEAPRENEURS | 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1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COUNTRIES</a:t>
            </a:r>
          </a:p>
        </p:txBody>
      </p:sp>
      <p:pic>
        <p:nvPicPr>
          <p:cNvPr id="51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816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4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0165" y="5491095"/>
            <a:ext cx="5114041" cy="1392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738885"/>
      </p:ext>
    </p:extLst>
  </p:cSld>
  <p:clrMapOvr>
    <a:masterClrMapping/>
  </p:clrMapOvr>
  <p:transition advClick="0" advTm="1200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2" y="4953003"/>
            <a:ext cx="11356369" cy="685800"/>
          </a:xfrm>
        </p:spPr>
        <p:txBody>
          <a:bodyPr lIns="91431" rIns="91431"/>
          <a:lstStyle>
            <a:lvl1pPr>
              <a:lnSpc>
                <a:spcPct val="125000"/>
              </a:lnSpc>
              <a:defRPr sz="2799">
                <a:solidFill>
                  <a:srgbClr val="00529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06402" y="5638803"/>
            <a:ext cx="11356369" cy="685800"/>
          </a:xfrm>
        </p:spPr>
        <p:txBody>
          <a:bodyPr/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8" name="Picture 2" descr="D:\From Compaq laptop\Jobs\PPT\2016\Nov\23 - Nov\Defence Presentation\Sandvik_CEC_Screen-10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" t="12488" r="3633"/>
          <a:stretch/>
        </p:blipFill>
        <p:spPr bwMode="auto">
          <a:xfrm>
            <a:off x="2" y="-17709"/>
            <a:ext cx="12192000" cy="6862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7653229" y="4469031"/>
            <a:ext cx="3039352" cy="618124"/>
          </a:xfrm>
          <a:prstGeom prst="rect">
            <a:avLst/>
          </a:prstGeom>
          <a:solidFill>
            <a:srgbClr val="F68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6551" y="4444429"/>
            <a:ext cx="2450504" cy="667325"/>
          </a:xfrm>
          <a:prstGeom prst="rect">
            <a:avLst/>
          </a:prstGeom>
        </p:spPr>
      </p:pic>
      <p:pic>
        <p:nvPicPr>
          <p:cNvPr id="22" name="Picture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" t="3638" r="44722" b="37439"/>
          <a:stretch/>
        </p:blipFill>
        <p:spPr bwMode="auto">
          <a:xfrm>
            <a:off x="-2" y="1955215"/>
            <a:ext cx="7919550" cy="4876639"/>
          </a:xfrm>
          <a:prstGeom prst="rtTriangl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29"/>
          <a:stretch/>
        </p:blipFill>
        <p:spPr>
          <a:xfrm>
            <a:off x="312821" y="1955215"/>
            <a:ext cx="984548" cy="1178504"/>
          </a:xfrm>
          <a:prstGeom prst="rect">
            <a:avLst/>
          </a:prstGeom>
          <a:effectLst/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53" y="4574317"/>
            <a:ext cx="1044351" cy="40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873610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45892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62722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11305309" cy="4628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64186"/>
            <a:ext cx="86360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029" name="Picture 6" descr="HCL Logo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t="31725" r="8223" b="28896"/>
          <a:stretch>
            <a:fillRect/>
          </a:stretch>
        </p:blipFill>
        <p:spPr bwMode="auto">
          <a:xfrm>
            <a:off x="10591800" y="449093"/>
            <a:ext cx="1344585" cy="16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6032425" y="6623408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ctr">
              <a:defRPr sz="800"/>
            </a:lvl1pPr>
          </a:lstStyle>
          <a:p>
            <a:pPr>
              <a:defRPr/>
            </a:pPr>
            <a:fld id="{58120702-516E-4529-B504-5066B99D9814}" type="slidenum">
              <a:rPr lang="en-US" sz="800" smtClean="0"/>
              <a:pPr>
                <a:defRPr/>
              </a:pPr>
              <a:t>‹#›</a:t>
            </a:fld>
            <a:endParaRPr lang="en-US" sz="800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V="1">
            <a:off x="228600" y="894393"/>
            <a:ext cx="11707785" cy="20007"/>
          </a:xfrm>
          <a:prstGeom prst="line">
            <a:avLst/>
          </a:prstGeom>
          <a:ln>
            <a:solidFill>
              <a:srgbClr val="82AA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194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0" i="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8125" indent="-23812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marL="457200" indent="-21748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2pPr>
      <a:lvl3pPr marL="676275" indent="-20955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667"/>
          <a:stretch/>
        </p:blipFill>
        <p:spPr bwMode="auto">
          <a:xfrm>
            <a:off x="0" y="0"/>
            <a:ext cx="12192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4" y="1219205"/>
            <a:ext cx="11379200" cy="5089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135" tIns="58566" rIns="117135" bIns="585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4" y="15881"/>
            <a:ext cx="113792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8566" tIns="58566" rIns="58566" bIns="5856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78600"/>
            <a:ext cx="3860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BM &amp; HCL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2875" y="6578600"/>
            <a:ext cx="28448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404040"/>
                </a:solidFill>
                <a:latin typeface="Arial" charset="0"/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335EB3-54CA-A841-A2EC-F68EC45E01D4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1" name="Picture 17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6181" y="116324"/>
            <a:ext cx="1044351" cy="40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5491" y="465746"/>
            <a:ext cx="1927332" cy="52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9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 cap="none" baseline="0">
          <a:solidFill>
            <a:schemeClr val="bg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99" b="1">
          <a:solidFill>
            <a:srgbClr val="00529B"/>
          </a:solidFill>
          <a:latin typeface="Novecento Book" pitchFamily="50" charset="0"/>
        </a:defRPr>
      </a:lvl5pPr>
      <a:lvl6pPr marL="585705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6pPr>
      <a:lvl7pPr marL="1171415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7pPr>
      <a:lvl8pPr marL="1757119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8pPr>
      <a:lvl9pPr marL="2342825" algn="l" rtl="0" fontAlgn="base">
        <a:spcBef>
          <a:spcPct val="0"/>
        </a:spcBef>
        <a:spcAft>
          <a:spcPct val="0"/>
        </a:spcAft>
        <a:defRPr sz="3099" b="1">
          <a:solidFill>
            <a:schemeClr val="bg1"/>
          </a:solidFill>
          <a:latin typeface="Arial" charset="0"/>
        </a:defRPr>
      </a:lvl9pPr>
    </p:titleStyle>
    <p:bodyStyle>
      <a:lvl1pPr marL="305056" indent="-305056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8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585705" indent="-27861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2pPr>
      <a:lvl3pPr marL="866360" indent="-26844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3pPr>
      <a:lvl4pPr marL="1159208" indent="-280652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4pPr>
      <a:lvl5pPr marL="1452062" indent="-280652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500">
          <a:solidFill>
            <a:schemeClr val="tx1"/>
          </a:solidFill>
          <a:latin typeface="Arial" pitchFamily="34" charset="0"/>
        </a:defRPr>
      </a:lvl5pPr>
      <a:lvl6pPr marL="2037770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6pPr>
      <a:lvl7pPr marL="2623477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7pPr>
      <a:lvl8pPr marL="3209182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8pPr>
      <a:lvl9pPr marL="3794888" indent="-280652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5705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1415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57119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2825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28532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14236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99944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85652" algn="l" defTabSz="117141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219201"/>
            <a:ext cx="113792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15875"/>
            <a:ext cx="113792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626533" y="6577013"/>
            <a:ext cx="0" cy="280987"/>
          </a:xfrm>
          <a:prstGeom prst="line">
            <a:avLst/>
          </a:prstGeom>
          <a:ln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extBox 1"/>
          <p:cNvSpPr txBox="1">
            <a:spLocks/>
          </p:cNvSpPr>
          <p:nvPr userDrawn="1"/>
        </p:nvSpPr>
        <p:spPr>
          <a:xfrm>
            <a:off x="65618" y="6569077"/>
            <a:ext cx="438149" cy="225767"/>
          </a:xfrm>
          <a:prstGeom prst="rect">
            <a:avLst/>
          </a:prstGeom>
        </p:spPr>
        <p:txBody>
          <a:bodyPr rIns="0">
            <a:spAutoFit/>
          </a:bodyPr>
          <a:lstStyle>
            <a:defPPr>
              <a:defRPr lang="en-US"/>
            </a:defPPr>
            <a:lvl1pPr algn="r">
              <a:defRPr sz="8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33B120D-C22C-43C1-97A5-1D247EFB43E2}" type="slidenum">
              <a:rPr lang="en-US" sz="867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67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>
            <a:spLocks/>
          </p:cNvSpPr>
          <p:nvPr userDrawn="1"/>
        </p:nvSpPr>
        <p:spPr>
          <a:xfrm>
            <a:off x="8457957" y="6560418"/>
            <a:ext cx="3319177" cy="225767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67" dirty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Copyright © 2016 HCL Technologies Limited  |  www.hcltech.com</a:t>
            </a:r>
          </a:p>
        </p:txBody>
      </p:sp>
      <p:grpSp>
        <p:nvGrpSpPr>
          <p:cNvPr id="15" name="Group 5"/>
          <p:cNvGrpSpPr>
            <a:grpSpLocks noChangeAspect="1"/>
          </p:cNvGrpSpPr>
          <p:nvPr userDrawn="1"/>
        </p:nvGrpSpPr>
        <p:grpSpPr bwMode="auto">
          <a:xfrm>
            <a:off x="10756901" y="6413764"/>
            <a:ext cx="1020233" cy="173473"/>
            <a:chOff x="5094" y="3939"/>
            <a:chExt cx="1488" cy="255"/>
          </a:xfrm>
        </p:grpSpPr>
        <p:sp>
          <p:nvSpPr>
            <p:cNvPr id="16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4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Freeform 8"/>
          <p:cNvSpPr>
            <a:spLocks noChangeAspect="1"/>
          </p:cNvSpPr>
          <p:nvPr userDrawn="1"/>
        </p:nvSpPr>
        <p:spPr bwMode="auto">
          <a:xfrm>
            <a:off x="0" y="795068"/>
            <a:ext cx="12192000" cy="263525"/>
          </a:xfrm>
          <a:custGeom>
            <a:avLst/>
            <a:gdLst>
              <a:gd name="T0" fmla="*/ 2147483647 w 6803"/>
              <a:gd name="T1" fmla="*/ 0 h 196"/>
              <a:gd name="T2" fmla="*/ 0 w 6803"/>
              <a:gd name="T3" fmla="*/ 0 h 196"/>
              <a:gd name="T4" fmla="*/ 0 w 6803"/>
              <a:gd name="T5" fmla="*/ 2147483647 h 196"/>
              <a:gd name="T6" fmla="*/ 2147483647 w 6803"/>
              <a:gd name="T7" fmla="*/ 2147483647 h 196"/>
              <a:gd name="T8" fmla="*/ 2147483647 w 6803"/>
              <a:gd name="T9" fmla="*/ 2147483647 h 196"/>
              <a:gd name="T10" fmla="*/ 2147483647 w 6803"/>
              <a:gd name="T11" fmla="*/ 2147483647 h 196"/>
              <a:gd name="T12" fmla="*/ 2147483647 w 6803"/>
              <a:gd name="T13" fmla="*/ 0 h 1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3" h="196">
                <a:moveTo>
                  <a:pt x="6803" y="0"/>
                </a:moveTo>
                <a:lnTo>
                  <a:pt x="0" y="0"/>
                </a:lnTo>
                <a:lnTo>
                  <a:pt x="0" y="99"/>
                </a:lnTo>
                <a:lnTo>
                  <a:pt x="2187" y="99"/>
                </a:lnTo>
                <a:lnTo>
                  <a:pt x="2282" y="196"/>
                </a:lnTo>
                <a:lnTo>
                  <a:pt x="6803" y="196"/>
                </a:lnTo>
                <a:lnTo>
                  <a:pt x="6803" y="0"/>
                </a:lnTo>
                <a:close/>
              </a:path>
            </a:pathLst>
          </a:custGeom>
          <a:solidFill>
            <a:srgbClr val="0052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361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rgbClr val="00529B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29B"/>
          </a:solidFill>
          <a:latin typeface="Novecento Book" pitchFamily="50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17492" indent="-317492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609585" indent="-289977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01677" indent="-27939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1206470" indent="-29209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1511262" indent="-292093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120847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6pPr>
      <a:lvl7pPr marL="2730432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7pPr>
      <a:lvl8pPr marL="3340016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8pPr>
      <a:lvl9pPr marL="3949601" indent="-29209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11305309" cy="4628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64186"/>
            <a:ext cx="8636000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029" name="Picture 6" descr="HCL Logo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t="31725" r="8223" b="28896"/>
          <a:stretch>
            <a:fillRect/>
          </a:stretch>
        </p:blipFill>
        <p:spPr bwMode="auto">
          <a:xfrm>
            <a:off x="10591800" y="449093"/>
            <a:ext cx="1344585" cy="16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6032425" y="6623408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ctr">
              <a:defRPr sz="800"/>
            </a:lvl1pPr>
          </a:lstStyle>
          <a:p>
            <a:pPr>
              <a:defRPr/>
            </a:pPr>
            <a:fld id="{58120702-516E-4529-B504-5066B99D9814}" type="slidenum">
              <a:rPr lang="en-US" sz="800" smtClean="0"/>
              <a:pPr>
                <a:defRPr/>
              </a:pPr>
              <a:t>‹#›</a:t>
            </a:fld>
            <a:endParaRPr lang="en-US" sz="800" dirty="0"/>
          </a:p>
        </p:txBody>
      </p:sp>
      <p:cxnSp>
        <p:nvCxnSpPr>
          <p:cNvPr id="16" name="Straight Connector 15"/>
          <p:cNvCxnSpPr/>
          <p:nvPr userDrawn="1"/>
        </p:nvCxnSpPr>
        <p:spPr>
          <a:xfrm flipV="1">
            <a:off x="228600" y="894393"/>
            <a:ext cx="11707785" cy="20007"/>
          </a:xfrm>
          <a:prstGeom prst="line">
            <a:avLst/>
          </a:prstGeom>
          <a:ln>
            <a:solidFill>
              <a:srgbClr val="82AA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6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0" i="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8125" indent="-23812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1pPr>
      <a:lvl2pPr marL="457200" indent="-21748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2pPr>
      <a:lvl3pPr marL="676275" indent="-20955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>
              <a:lumMod val="65000"/>
              <a:lumOff val="35000"/>
            </a:schemeClr>
          </a:solidFill>
          <a:latin typeface="Arial" charset="0"/>
          <a:ea typeface="Arial" charset="0"/>
          <a:cs typeface="Arial" charset="0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loudbees.com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/>
              <a:t>Jenkin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D06517F-A563-4BAD-A84E-142B1554349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sz="1800" b="1" dirty="0"/>
              <a:t>Veena M</a:t>
            </a:r>
          </a:p>
        </p:txBody>
      </p:sp>
    </p:spTree>
    <p:extLst>
      <p:ext uri="{BB962C8B-B14F-4D97-AF65-F5344CB8AC3E}">
        <p14:creationId xmlns:p14="http://schemas.microsoft.com/office/powerpoint/2010/main" val="127387038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361047-8CAB-4676-8052-EEA57B46AE87}"/>
              </a:ext>
            </a:extLst>
          </p:cNvPr>
          <p:cNvSpPr txBox="1">
            <a:spLocks/>
          </p:cNvSpPr>
          <p:nvPr/>
        </p:nvSpPr>
        <p:spPr bwMode="auto">
          <a:xfrm>
            <a:off x="228600" y="-59377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Install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0B8D48-0BBC-4964-B222-7F95531133A6}"/>
              </a:ext>
            </a:extLst>
          </p:cNvPr>
          <p:cNvSpPr txBox="1"/>
          <p:nvPr/>
        </p:nvSpPr>
        <p:spPr>
          <a:xfrm flipH="1">
            <a:off x="1399507" y="1567543"/>
            <a:ext cx="78394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enkins is packaged as a WAR, so you can drop it into whichever servlet container you prefer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enkins comes pre-packaged with a servlet if you just want a lightweight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ve/Supported packages exist for</a:t>
            </a:r>
          </a:p>
          <a:p>
            <a:r>
              <a:rPr lang="en-US" dirty="0"/>
              <a:t>         Windows, </a:t>
            </a:r>
            <a:r>
              <a:rPr lang="en-US" dirty="0" err="1"/>
              <a:t>linux</a:t>
            </a:r>
            <a:r>
              <a:rPr lang="en-US" dirty="0"/>
              <a:t>, MacOS etc.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are also cloud based solutions that can  provide a Jenkins instance</a:t>
            </a:r>
          </a:p>
          <a:p>
            <a:r>
              <a:rPr lang="en-US" dirty="0"/>
              <a:t>      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Perpetua" panose="02020502060401020303" pitchFamily="18" charset="0"/>
              </a:rPr>
              <a:t>Cloudbees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Perpetua" panose="02020502060401020303" pitchFamily="18" charset="0"/>
              </a:rPr>
              <a:t> - </a:t>
            </a:r>
            <a:r>
              <a:rPr lang="en-US" sz="1800" b="0" i="0" u="none" strike="noStrike" baseline="0" dirty="0">
                <a:solidFill>
                  <a:srgbClr val="0070C0"/>
                </a:solidFill>
                <a:latin typeface="Perpetua" panose="02020502060401020303" pitchFamily="18" charset="0"/>
                <a:hlinkClick r:id="rId2"/>
              </a:rPr>
              <a:t>http://www.cloudbees.com/</a:t>
            </a:r>
            <a:endParaRPr lang="en-US" dirty="0">
              <a:solidFill>
                <a:srgbClr val="0070C0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436951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A91088A-9908-4186-8576-FAFD18BF85D8}"/>
              </a:ext>
            </a:extLst>
          </p:cNvPr>
          <p:cNvSpPr txBox="1">
            <a:spLocks/>
          </p:cNvSpPr>
          <p:nvPr/>
        </p:nvSpPr>
        <p:spPr bwMode="auto">
          <a:xfrm>
            <a:off x="228600" y="-59377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- Architectur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A98C827-08D7-4189-ABEF-8CCC12D0371A}"/>
              </a:ext>
            </a:extLst>
          </p:cNvPr>
          <p:cNvSpPr/>
          <p:nvPr/>
        </p:nvSpPr>
        <p:spPr bwMode="auto">
          <a:xfrm>
            <a:off x="961901" y="2363189"/>
            <a:ext cx="1460665" cy="149629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Jenkins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Master(UI)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B3712B0-A19B-414A-A0A0-54A98CA4F1B8}"/>
              </a:ext>
            </a:extLst>
          </p:cNvPr>
          <p:cNvSpPr/>
          <p:nvPr/>
        </p:nvSpPr>
        <p:spPr bwMode="auto">
          <a:xfrm>
            <a:off x="4209606" y="1353787"/>
            <a:ext cx="1787433" cy="878774"/>
          </a:xfrm>
          <a:prstGeom prst="roundRect">
            <a:avLst/>
          </a:prstGeom>
          <a:solidFill>
            <a:srgbClr val="FFC000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Window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lave Node(UI)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2F75AA2-145A-4F5C-8894-15DA1A0D464C}"/>
              </a:ext>
            </a:extLst>
          </p:cNvPr>
          <p:cNvSpPr/>
          <p:nvPr/>
        </p:nvSpPr>
        <p:spPr bwMode="auto">
          <a:xfrm>
            <a:off x="4209606" y="2550226"/>
            <a:ext cx="1787433" cy="878774"/>
          </a:xfrm>
          <a:prstGeom prst="roundRect">
            <a:avLst/>
          </a:prstGeom>
          <a:solidFill>
            <a:srgbClr val="92D050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MacO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lave Node(UI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0CED7A2-498E-4955-9A91-89693952BCFF}"/>
              </a:ext>
            </a:extLst>
          </p:cNvPr>
          <p:cNvSpPr/>
          <p:nvPr/>
        </p:nvSpPr>
        <p:spPr bwMode="auto">
          <a:xfrm>
            <a:off x="4209606" y="3859481"/>
            <a:ext cx="1787433" cy="878774"/>
          </a:xfrm>
          <a:prstGeom prst="roundRect">
            <a:avLst/>
          </a:prstGeom>
          <a:solidFill>
            <a:srgbClr val="33CCCC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Linux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lave Node(UI)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2F7058F-44A7-4740-A315-3CE59369D782}"/>
              </a:ext>
            </a:extLst>
          </p:cNvPr>
          <p:cNvCxnSpPr/>
          <p:nvPr/>
        </p:nvCxnSpPr>
        <p:spPr bwMode="auto">
          <a:xfrm flipV="1">
            <a:off x="2422566" y="1935678"/>
            <a:ext cx="1787040" cy="1053935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F3E5DA3-B002-43FE-9AF2-6343A22D397D}"/>
              </a:ext>
            </a:extLst>
          </p:cNvPr>
          <p:cNvCxnSpPr>
            <a:cxnSpLocks/>
          </p:cNvCxnSpPr>
          <p:nvPr/>
        </p:nvCxnSpPr>
        <p:spPr bwMode="auto">
          <a:xfrm>
            <a:off x="2460666" y="2973781"/>
            <a:ext cx="1748940" cy="1309256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927C2CA-7D8F-4FC2-BEB0-05ABA0E8DA8C}"/>
              </a:ext>
            </a:extLst>
          </p:cNvPr>
          <p:cNvCxnSpPr>
            <a:cxnSpLocks/>
            <a:endCxn id="11" idx="1"/>
          </p:cNvCxnSpPr>
          <p:nvPr/>
        </p:nvCxnSpPr>
        <p:spPr bwMode="auto">
          <a:xfrm>
            <a:off x="2498766" y="2973781"/>
            <a:ext cx="1710840" cy="15832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C2AE44A-F3FE-4B4E-B959-9336DB3DECB4}"/>
              </a:ext>
            </a:extLst>
          </p:cNvPr>
          <p:cNvSpPr txBox="1"/>
          <p:nvPr/>
        </p:nvSpPr>
        <p:spPr>
          <a:xfrm>
            <a:off x="7540831" y="1496291"/>
            <a:ext cx="3051959" cy="2031325"/>
          </a:xfrm>
          <a:prstGeom prst="rect">
            <a:avLst/>
          </a:prstGeom>
          <a:solidFill>
            <a:srgbClr val="33CCCC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Master Node: </a:t>
            </a:r>
          </a:p>
          <a:p>
            <a:pPr marL="342900" indent="-342900">
              <a:buAutoNum type="arabicPeriod"/>
            </a:pPr>
            <a:r>
              <a:rPr lang="en-US" dirty="0"/>
              <a:t>Schedules build</a:t>
            </a:r>
          </a:p>
          <a:p>
            <a:pPr marL="342900" indent="-342900">
              <a:buAutoNum type="arabicPeriod"/>
            </a:pPr>
            <a:r>
              <a:rPr lang="en-US" dirty="0"/>
              <a:t>Dispatches builds to slave nodes for actual execution</a:t>
            </a:r>
          </a:p>
          <a:p>
            <a:pPr marL="342900" indent="-342900">
              <a:buAutoNum type="arabicPeriod"/>
            </a:pPr>
            <a:r>
              <a:rPr lang="en-US" dirty="0"/>
              <a:t>Monitors the slave nodes and Records the results.</a:t>
            </a:r>
          </a:p>
          <a:p>
            <a:pPr marL="342900" indent="-342900">
              <a:buAutoNum type="arabicPeriod"/>
            </a:pP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C89C6FB-5382-4CC8-9CA1-B8EF4E571CA0}"/>
              </a:ext>
            </a:extLst>
          </p:cNvPr>
          <p:cNvSpPr txBox="1"/>
          <p:nvPr/>
        </p:nvSpPr>
        <p:spPr>
          <a:xfrm>
            <a:off x="7540831" y="3628409"/>
            <a:ext cx="3051959" cy="1477328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Slave Node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etup to build projects for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xecutes the jobs dispatched by Master</a:t>
            </a:r>
          </a:p>
        </p:txBody>
      </p:sp>
    </p:spTree>
    <p:extLst>
      <p:ext uri="{BB962C8B-B14F-4D97-AF65-F5344CB8AC3E}">
        <p14:creationId xmlns:p14="http://schemas.microsoft.com/office/powerpoint/2010/main" val="190738144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BB2E51C-079C-4B87-9839-FB9CABFF5C1D}"/>
              </a:ext>
            </a:extLst>
          </p:cNvPr>
          <p:cNvSpPr txBox="1">
            <a:spLocks/>
          </p:cNvSpPr>
          <p:nvPr/>
        </p:nvSpPr>
        <p:spPr bwMode="auto">
          <a:xfrm>
            <a:off x="228600" y="-59377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CDCA5D-9969-4E40-B5E2-F800E9395A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056904"/>
            <a:ext cx="11459689" cy="5451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807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F25C1E-182D-4AF7-B2F7-66E32451F1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nage Jenkins</a:t>
            </a:r>
          </a:p>
          <a:p>
            <a:pPr marL="0" indent="0">
              <a:buNone/>
            </a:pPr>
            <a:r>
              <a:rPr lang="en-US" dirty="0"/>
              <a:t>          Plugins Installation</a:t>
            </a:r>
          </a:p>
          <a:p>
            <a:pPr marL="0" indent="0">
              <a:buNone/>
            </a:pPr>
            <a:r>
              <a:rPr lang="en-US" dirty="0"/>
              <a:t>          User Management</a:t>
            </a:r>
          </a:p>
          <a:p>
            <a:pPr marL="0" indent="0">
              <a:buNone/>
            </a:pPr>
            <a:r>
              <a:rPr lang="en-US" dirty="0"/>
              <a:t>          Tools Configurations</a:t>
            </a:r>
          </a:p>
          <a:p>
            <a:r>
              <a:rPr lang="en-US" dirty="0"/>
              <a:t>Create Free Style Jobs</a:t>
            </a:r>
          </a:p>
          <a:p>
            <a:pPr marL="0" indent="0">
              <a:buNone/>
            </a:pPr>
            <a:r>
              <a:rPr lang="en-US" dirty="0"/>
              <a:t>       SCM checkout</a:t>
            </a:r>
          </a:p>
          <a:p>
            <a:pPr marL="0" indent="0">
              <a:buNone/>
            </a:pPr>
            <a:r>
              <a:rPr lang="en-US" dirty="0"/>
              <a:t>       Script executions</a:t>
            </a:r>
          </a:p>
          <a:p>
            <a:pPr marL="0" indent="0">
              <a:buNone/>
            </a:pPr>
            <a:r>
              <a:rPr lang="en-US" dirty="0"/>
              <a:t>       Maven Project Build</a:t>
            </a:r>
          </a:p>
          <a:p>
            <a:pPr marL="0" indent="0">
              <a:buNone/>
            </a:pPr>
            <a:r>
              <a:rPr lang="en-US" dirty="0"/>
              <a:t>       Test-results Publish</a:t>
            </a:r>
          </a:p>
          <a:p>
            <a:r>
              <a:rPr lang="en-US" dirty="0"/>
              <a:t>Build Trigger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F6651D7-5612-4180-9717-F71169093B7A}"/>
              </a:ext>
            </a:extLst>
          </p:cNvPr>
          <p:cNvSpPr txBox="1">
            <a:spLocks/>
          </p:cNvSpPr>
          <p:nvPr/>
        </p:nvSpPr>
        <p:spPr bwMode="auto">
          <a:xfrm>
            <a:off x="228600" y="-59377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- Demo</a:t>
            </a:r>
          </a:p>
        </p:txBody>
      </p:sp>
    </p:spTree>
    <p:extLst>
      <p:ext uri="{BB962C8B-B14F-4D97-AF65-F5344CB8AC3E}">
        <p14:creationId xmlns:p14="http://schemas.microsoft.com/office/powerpoint/2010/main" val="4094158607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DF037-1514-40FB-BD7E-50F7B8ADE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400" b="1" dirty="0"/>
              <a:t>What is a Jenkins Pipelin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F3CDA4-F293-4D0E-8503-6F8BE91D76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9200"/>
            <a:ext cx="7059706" cy="462888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A pipeline is a collection of jobs that brings the software from version control into the hands of the end users by using automation tools. It is a feature used to incorporate</a:t>
            </a:r>
            <a:r>
              <a:rPr lang="en-US" sz="2000" b="1" dirty="0">
                <a:solidFill>
                  <a:schemeClr val="tx1"/>
                </a:solidFill>
                <a:latin typeface="+mn-lt"/>
              </a:rPr>
              <a:t> continuous delivery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 in our software development workflow.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  Over the years, there have been multiple Jenkins pipeline releases including, Jenkins Build flow, Jenkins Build Pipeline plugin, Jenkins Workflow, etc. </a:t>
            </a:r>
          </a:p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  <a:latin typeface="+mn-lt"/>
              </a:rPr>
              <a:t>key features of these plugins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They represent multiple Jenkins jobs as one whole workflow in the form of a pipelin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What do these pipelines do? These pipelines are a </a:t>
            </a:r>
            <a:r>
              <a:rPr lang="en-US" sz="2000" b="1" dirty="0">
                <a:solidFill>
                  <a:schemeClr val="tx1"/>
                </a:solidFill>
                <a:latin typeface="+mn-lt"/>
              </a:rPr>
              <a:t>collection of Jenkins jobs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 which trigger each other in a specified sequence.</a:t>
            </a:r>
          </a:p>
          <a:p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583ADE-39C2-40B8-A90A-B82AF82BB2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306" y="1738459"/>
            <a:ext cx="4450976" cy="3590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1930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7C3ED34-5924-4E75-8FAD-9120CFAF3C4F}"/>
              </a:ext>
            </a:extLst>
          </p:cNvPr>
          <p:cNvSpPr txBox="1">
            <a:spLocks/>
          </p:cNvSpPr>
          <p:nvPr/>
        </p:nvSpPr>
        <p:spPr bwMode="auto">
          <a:xfrm>
            <a:off x="174812" y="0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Build Pipelin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FF03E1-FDE8-42FE-B920-2002E1D42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293" y="1277471"/>
            <a:ext cx="9130553" cy="258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CF20BC9-72A5-4075-BBB7-E97CA6C9A882}"/>
              </a:ext>
            </a:extLst>
          </p:cNvPr>
          <p:cNvSpPr/>
          <p:nvPr/>
        </p:nvSpPr>
        <p:spPr>
          <a:xfrm>
            <a:off x="941293" y="3992033"/>
            <a:ext cx="1014259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rgbClr val="333333"/>
                </a:solidFill>
              </a:rPr>
              <a:t>This approach is effective for deploying small applications.</a:t>
            </a:r>
            <a:endParaRPr lang="en-US" sz="2000" dirty="0">
              <a:solidFill>
                <a:srgbClr val="333333"/>
              </a:solidFill>
            </a:endParaRPr>
          </a:p>
          <a:p>
            <a:pPr algn="just"/>
            <a:r>
              <a:rPr lang="en-US" dirty="0">
                <a:solidFill>
                  <a:srgbClr val="333333"/>
                </a:solidFill>
              </a:rPr>
              <a:t>But what happens when there are complex pipelines with several processes (build, test, unit test, integration test, pre-deploy, deploy, monitor) running 100’s of jobs?</a:t>
            </a:r>
          </a:p>
          <a:p>
            <a:pPr algn="just"/>
            <a:endParaRPr lang="en-US" dirty="0">
              <a:solidFill>
                <a:srgbClr val="333333"/>
              </a:solidFill>
            </a:endParaRPr>
          </a:p>
          <a:p>
            <a:pPr algn="just"/>
            <a:r>
              <a:rPr lang="en-US" dirty="0">
                <a:solidFill>
                  <a:srgbClr val="333333"/>
                </a:solidFill>
              </a:rPr>
              <a:t>The maintenance cost for such a complex pipeline is huge and increases with the number of processes. It also becomes tedious to build and manage such a vast number of jobs</a:t>
            </a:r>
            <a:endParaRPr lang="en-US" dirty="0">
              <a:solidFill>
                <a:srgbClr val="33333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1007097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EC12109-C0C5-4103-85C4-527FD86D15E9}"/>
              </a:ext>
            </a:extLst>
          </p:cNvPr>
          <p:cNvSpPr txBox="1">
            <a:spLocks/>
          </p:cNvSpPr>
          <p:nvPr/>
        </p:nvSpPr>
        <p:spPr bwMode="auto">
          <a:xfrm>
            <a:off x="309282" y="-95493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Pipeline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247203-C067-4424-92D8-7FE10BDAF54F}"/>
              </a:ext>
            </a:extLst>
          </p:cNvPr>
          <p:cNvSpPr/>
          <p:nvPr/>
        </p:nvSpPr>
        <p:spPr>
          <a:xfrm>
            <a:off x="681074" y="1519827"/>
            <a:ext cx="108298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solidFill>
                  <a:srgbClr val="333333"/>
                </a:solidFill>
              </a:rPr>
              <a:t>Jenkins Pipeline Project is to define the entire deployment flow through code. It basically follows the ‘</a:t>
            </a:r>
            <a:r>
              <a:rPr lang="en-US" sz="2400" b="1" dirty="0">
                <a:solidFill>
                  <a:srgbClr val="333333"/>
                </a:solidFill>
              </a:rPr>
              <a:t>pipeline as code</a:t>
            </a:r>
            <a:r>
              <a:rPr lang="en-US" sz="2400" dirty="0">
                <a:solidFill>
                  <a:srgbClr val="333333"/>
                </a:solidFill>
              </a:rPr>
              <a:t>’ discipline. Instead of building several jobs for each phase, can now code the entire workflow and put it in a </a:t>
            </a:r>
            <a:r>
              <a:rPr lang="en-US" sz="2400" b="1" dirty="0" err="1">
                <a:solidFill>
                  <a:srgbClr val="333333"/>
                </a:solidFill>
              </a:rPr>
              <a:t>Jenkinsfile</a:t>
            </a:r>
            <a:r>
              <a:rPr lang="en-US" sz="2400" dirty="0">
                <a:solidFill>
                  <a:srgbClr val="333333"/>
                </a:solidFill>
              </a:rPr>
              <a:t>.</a:t>
            </a:r>
            <a:endParaRPr lang="en-US" sz="2400" dirty="0">
              <a:solidFill>
                <a:srgbClr val="333333"/>
              </a:solidFill>
              <a:effectLst/>
            </a:endParaRPr>
          </a:p>
        </p:txBody>
      </p:sp>
      <p:sp>
        <p:nvSpPr>
          <p:cNvPr id="7" name="AutoShape 2" descr="Image result for sample jenkins Pipeline">
            <a:extLst>
              <a:ext uri="{FF2B5EF4-FFF2-40B4-BE49-F238E27FC236}">
                <a16:creationId xmlns:a16="http://schemas.microsoft.com/office/drawing/2014/main" id="{E463E926-A4F2-43FF-B716-6CF0751B4E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AutoShape 4" descr="Image result for sample jenkins Pipeline">
            <a:extLst>
              <a:ext uri="{FF2B5EF4-FFF2-40B4-BE49-F238E27FC236}">
                <a16:creationId xmlns:a16="http://schemas.microsoft.com/office/drawing/2014/main" id="{39F5382B-7795-4230-BD5D-FF55A63B5DF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6" descr="Image result for sample jenkins Pipeline">
            <a:extLst>
              <a:ext uri="{FF2B5EF4-FFF2-40B4-BE49-F238E27FC236}">
                <a16:creationId xmlns:a16="http://schemas.microsoft.com/office/drawing/2014/main" id="{FFEAC297-45AF-4F85-9F60-EC31FEC210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D198E3-32FE-46D3-B94A-9680241951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73" y="2777519"/>
            <a:ext cx="6768598" cy="2749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92033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1F329-91B0-43D1-BB63-2A233FB21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kins Pipeline : Advantag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549402-7705-467A-994A-665FB74F6410}"/>
              </a:ext>
            </a:extLst>
          </p:cNvPr>
          <p:cNvSpPr/>
          <p:nvPr/>
        </p:nvSpPr>
        <p:spPr>
          <a:xfrm>
            <a:off x="524435" y="1148006"/>
            <a:ext cx="1000461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</a:rPr>
              <a:t>It models simple to complex pipelines as code by using </a:t>
            </a:r>
            <a:r>
              <a:rPr lang="en-US" sz="2000" b="1" dirty="0">
                <a:solidFill>
                  <a:srgbClr val="333333"/>
                </a:solidFill>
              </a:rPr>
              <a:t>Groovy DSL</a:t>
            </a:r>
            <a:r>
              <a:rPr lang="en-US" sz="2000" dirty="0">
                <a:solidFill>
                  <a:srgbClr val="333333"/>
                </a:solidFill>
              </a:rPr>
              <a:t> (Domain Specific Language)</a:t>
            </a:r>
          </a:p>
          <a:p>
            <a:endParaRPr lang="en-US" sz="2000" dirty="0">
              <a:solidFill>
                <a:srgbClr val="33333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</a:rPr>
              <a:t>The code is stored in a text file called the </a:t>
            </a:r>
            <a:r>
              <a:rPr lang="en-US" sz="2000" dirty="0" err="1">
                <a:solidFill>
                  <a:srgbClr val="333333"/>
                </a:solidFill>
              </a:rPr>
              <a:t>Jenkinsfile</a:t>
            </a:r>
            <a:r>
              <a:rPr lang="en-US" sz="2000" dirty="0">
                <a:solidFill>
                  <a:srgbClr val="333333"/>
                </a:solidFill>
              </a:rPr>
              <a:t> which can be </a:t>
            </a:r>
            <a:r>
              <a:rPr lang="en-US" sz="2000" b="1" dirty="0">
                <a:solidFill>
                  <a:srgbClr val="333333"/>
                </a:solidFill>
              </a:rPr>
              <a:t>checked into a SCM</a:t>
            </a:r>
            <a:r>
              <a:rPr lang="en-US" sz="2000" dirty="0">
                <a:solidFill>
                  <a:srgbClr val="333333"/>
                </a:solidFill>
              </a:rPr>
              <a:t> (Source Code Management)</a:t>
            </a:r>
          </a:p>
          <a:p>
            <a:endParaRPr lang="en-US" sz="2000" dirty="0">
              <a:solidFill>
                <a:srgbClr val="33333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</a:rPr>
              <a:t>Improves user interface by incorporating </a:t>
            </a:r>
            <a:r>
              <a:rPr lang="en-US" sz="2000" b="1" dirty="0">
                <a:solidFill>
                  <a:srgbClr val="333333"/>
                </a:solidFill>
              </a:rPr>
              <a:t>user input</a:t>
            </a:r>
            <a:r>
              <a:rPr lang="en-US" sz="2000" dirty="0">
                <a:solidFill>
                  <a:srgbClr val="333333"/>
                </a:solidFill>
              </a:rPr>
              <a:t> within the pipeline</a:t>
            </a:r>
          </a:p>
          <a:p>
            <a:endParaRPr lang="en-US" sz="2000" dirty="0">
              <a:solidFill>
                <a:srgbClr val="33333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</a:rPr>
              <a:t>It is durable in terms of unplanned restart of the Jenkins master</a:t>
            </a:r>
          </a:p>
          <a:p>
            <a:endParaRPr lang="en-US" sz="2000" dirty="0">
              <a:solidFill>
                <a:srgbClr val="33333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</a:rPr>
              <a:t>It supports complex pipelines by incorporating conditional loops, fork or join operations and allowing tasks to be performed in parallel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33333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</a:rPr>
              <a:t>It can integrate with several other plugins</a:t>
            </a:r>
            <a:endParaRPr lang="en-US" sz="2000" dirty="0">
              <a:solidFill>
                <a:srgbClr val="33333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793516138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DB6B9B-C335-4D45-86B6-553F4FD56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+mn-lt"/>
              </a:rPr>
              <a:t>Static Test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91666B-F7A2-487E-BE79-3947EC0ABC89}"/>
              </a:ext>
            </a:extLst>
          </p:cNvPr>
          <p:cNvSpPr txBox="1"/>
          <p:nvPr/>
        </p:nvSpPr>
        <p:spPr>
          <a:xfrm>
            <a:off x="1094510" y="1286629"/>
            <a:ext cx="96981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tatic testing is a method of testing the source code without actually executing it. It does so by analyzing the code against the pre-set of coding rules and ensures that it conforms to the guidelin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E6E3C1-FCEA-4FBB-93FF-3BE9535C84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2264351" y="3956722"/>
            <a:ext cx="1690537" cy="16270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BD72FA-1C53-45ED-A3D5-8C86CC5477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9619" y="4931302"/>
            <a:ext cx="809625" cy="13049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B0A9E6-0EA3-4FDD-8D9C-E28269ECCE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4257" y="2795469"/>
            <a:ext cx="914987" cy="11610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32A9F-13EE-400C-8272-D8E56730A2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2625" y="2329407"/>
            <a:ext cx="1238250" cy="533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B64DEE8-0E0F-4E2D-944C-7C81BB2CA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3369" y="5737946"/>
            <a:ext cx="952500" cy="314325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0B27CE1-8B66-471C-9F14-0029E430F297}"/>
              </a:ext>
            </a:extLst>
          </p:cNvPr>
          <p:cNvCxnSpPr/>
          <p:nvPr/>
        </p:nvCxnSpPr>
        <p:spPr bwMode="auto">
          <a:xfrm>
            <a:off x="3954888" y="5250873"/>
            <a:ext cx="3719369" cy="0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70CC900-16A4-4092-8A0A-B31AE88D821D}"/>
              </a:ext>
            </a:extLst>
          </p:cNvPr>
          <p:cNvCxnSpPr>
            <a:cxnSpLocks/>
            <a:endCxn id="6" idx="2"/>
          </p:cNvCxnSpPr>
          <p:nvPr/>
        </p:nvCxnSpPr>
        <p:spPr bwMode="auto">
          <a:xfrm flipV="1">
            <a:off x="8131751" y="3956485"/>
            <a:ext cx="0" cy="974818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A48ADA6-9B70-46B8-BD27-3936B21A3C02}"/>
              </a:ext>
            </a:extLst>
          </p:cNvPr>
          <p:cNvCxnSpPr>
            <a:stCxn id="6" idx="1"/>
            <a:endCxn id="3" idx="0"/>
          </p:cNvCxnSpPr>
          <p:nvPr/>
        </p:nvCxnSpPr>
        <p:spPr bwMode="auto">
          <a:xfrm rot="10800000" flipV="1">
            <a:off x="3109619" y="3375976"/>
            <a:ext cx="4564638" cy="580745"/>
          </a:xfrm>
          <a:prstGeom prst="bentConnector2">
            <a:avLst/>
          </a:prstGeom>
          <a:ln>
            <a:headEnd type="none" w="med" len="med"/>
            <a:tailEnd type="arrow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25E85B3-226F-485F-A1E6-F2E3C58F926B}"/>
              </a:ext>
            </a:extLst>
          </p:cNvPr>
          <p:cNvSpPr txBox="1"/>
          <p:nvPr/>
        </p:nvSpPr>
        <p:spPr>
          <a:xfrm>
            <a:off x="4748419" y="4770243"/>
            <a:ext cx="1885537" cy="375279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rites the cod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A7A8C12-72E4-49DF-ACC1-F2744FBAB5DF}"/>
              </a:ext>
            </a:extLst>
          </p:cNvPr>
          <p:cNvSpPr txBox="1"/>
          <p:nvPr/>
        </p:nvSpPr>
        <p:spPr>
          <a:xfrm>
            <a:off x="3803750" y="2648376"/>
            <a:ext cx="2566934" cy="646331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Informs Dev about errors in the code</a:t>
            </a:r>
          </a:p>
        </p:txBody>
      </p:sp>
    </p:spTree>
    <p:extLst>
      <p:ext uri="{BB962C8B-B14F-4D97-AF65-F5344CB8AC3E}">
        <p14:creationId xmlns:p14="http://schemas.microsoft.com/office/powerpoint/2010/main" val="276164932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  <p:bldP spid="26" grpId="0" animBg="1"/>
      <p:bldP spid="2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DB6B9B-C335-4D45-86B6-553F4FD56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+mn-lt"/>
              </a:rPr>
              <a:t>Static Code Analysi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91666B-F7A2-487E-BE79-3947EC0ABC89}"/>
              </a:ext>
            </a:extLst>
          </p:cNvPr>
          <p:cNvSpPr txBox="1"/>
          <p:nvPr/>
        </p:nvSpPr>
        <p:spPr>
          <a:xfrm>
            <a:off x="1094510" y="1286629"/>
            <a:ext cx="96981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Many tools are available which helps in Static testing and provides an analysis got better comprehens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E6E3C1-FCEA-4FBB-93FF-3BE9535C84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2607302" y="4555709"/>
            <a:ext cx="1242211" cy="102805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BD72FA-1C53-45ED-A3D5-8C86CC5477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9619" y="4931302"/>
            <a:ext cx="809625" cy="13049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B0A9E6-0EA3-4FDD-8D9C-E28269ECCE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4257" y="2795469"/>
            <a:ext cx="914987" cy="11610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2732A9F-13EE-400C-8272-D8E56730A2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2625" y="2329407"/>
            <a:ext cx="1238250" cy="533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B64DEE8-0E0F-4E2D-944C-7C81BB2CA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3369" y="5737946"/>
            <a:ext cx="952500" cy="314325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0B27CE1-8B66-471C-9F14-0029E430F297}"/>
              </a:ext>
            </a:extLst>
          </p:cNvPr>
          <p:cNvCxnSpPr/>
          <p:nvPr/>
        </p:nvCxnSpPr>
        <p:spPr bwMode="auto">
          <a:xfrm>
            <a:off x="3954888" y="5250873"/>
            <a:ext cx="3719369" cy="0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70CC900-16A4-4092-8A0A-B31AE88D821D}"/>
              </a:ext>
            </a:extLst>
          </p:cNvPr>
          <p:cNvCxnSpPr>
            <a:cxnSpLocks/>
            <a:endCxn id="6" idx="2"/>
          </p:cNvCxnSpPr>
          <p:nvPr/>
        </p:nvCxnSpPr>
        <p:spPr bwMode="auto">
          <a:xfrm flipV="1">
            <a:off x="8131751" y="3956485"/>
            <a:ext cx="0" cy="974818"/>
          </a:xfrm>
          <a:prstGeom prst="straightConnector1">
            <a:avLst/>
          </a:prstGeom>
          <a:ln>
            <a:headEnd type="none" w="sm" len="sm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A48ADA6-9B70-46B8-BD27-3936B21A3C02}"/>
              </a:ext>
            </a:extLst>
          </p:cNvPr>
          <p:cNvCxnSpPr>
            <a:cxnSpLocks/>
            <a:stCxn id="6" idx="1"/>
          </p:cNvCxnSpPr>
          <p:nvPr/>
        </p:nvCxnSpPr>
        <p:spPr bwMode="auto">
          <a:xfrm rot="10800000">
            <a:off x="4412383" y="3375977"/>
            <a:ext cx="3261875" cy="1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25E85B3-226F-485F-A1E6-F2E3C58F926B}"/>
              </a:ext>
            </a:extLst>
          </p:cNvPr>
          <p:cNvSpPr txBox="1"/>
          <p:nvPr/>
        </p:nvSpPr>
        <p:spPr>
          <a:xfrm>
            <a:off x="4748419" y="4884623"/>
            <a:ext cx="1347581" cy="307749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Writes the cod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A7A8C12-72E4-49DF-ACC1-F2744FBAB5DF}"/>
              </a:ext>
            </a:extLst>
          </p:cNvPr>
          <p:cNvSpPr txBox="1"/>
          <p:nvPr/>
        </p:nvSpPr>
        <p:spPr>
          <a:xfrm>
            <a:off x="4732193" y="3009700"/>
            <a:ext cx="2536703" cy="307777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Creates an analysis of the cod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B2F3C1-0CB0-4B9A-AC94-0BA7FD1C04AB}"/>
              </a:ext>
            </a:extLst>
          </p:cNvPr>
          <p:cNvSpPr txBox="1"/>
          <p:nvPr/>
        </p:nvSpPr>
        <p:spPr>
          <a:xfrm>
            <a:off x="4865005" y="3453842"/>
            <a:ext cx="1885537" cy="307777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Represents it visuall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CE03EC-2BA8-44DA-A5D7-7FD80E63A5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3211" y="2767828"/>
            <a:ext cx="1628356" cy="984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52874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  <p:bldP spid="26" grpId="0" animBg="1"/>
      <p:bldP spid="27" grpId="0" animBg="1"/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ounded Rectangle 115">
            <a:extLst>
              <a:ext uri="{FF2B5EF4-FFF2-40B4-BE49-F238E27FC236}">
                <a16:creationId xmlns:a16="http://schemas.microsoft.com/office/drawing/2014/main" id="{22134448-FA3A-4B2E-8874-422C5185E136}"/>
              </a:ext>
            </a:extLst>
          </p:cNvPr>
          <p:cNvSpPr/>
          <p:nvPr/>
        </p:nvSpPr>
        <p:spPr>
          <a:xfrm>
            <a:off x="5675225" y="4352998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>
              <a:defRPr/>
            </a:pPr>
            <a:r>
              <a:rPr lang="en-US" sz="1400" b="1" kern="0" dirty="0">
                <a:latin typeface="Arial"/>
              </a:rPr>
              <a:t>    </a:t>
            </a:r>
            <a:r>
              <a:rPr lang="en-GB" sz="1400" b="1" kern="0" dirty="0">
                <a:latin typeface="Arial"/>
              </a:rPr>
              <a:t>Jenkins Pipelines for CI-CD</a:t>
            </a:r>
            <a:endParaRPr lang="en-US" sz="1400" b="1" kern="0" dirty="0">
              <a:latin typeface="Arial"/>
            </a:endParaRPr>
          </a:p>
        </p:txBody>
      </p:sp>
      <p:sp>
        <p:nvSpPr>
          <p:cNvPr id="39" name="Rounded Rectangle 115">
            <a:extLst>
              <a:ext uri="{FF2B5EF4-FFF2-40B4-BE49-F238E27FC236}">
                <a16:creationId xmlns:a16="http://schemas.microsoft.com/office/drawing/2014/main" id="{E972C456-7BA0-42D5-BD00-7314D84ABC64}"/>
              </a:ext>
            </a:extLst>
          </p:cNvPr>
          <p:cNvSpPr/>
          <p:nvPr/>
        </p:nvSpPr>
        <p:spPr>
          <a:xfrm>
            <a:off x="5722167" y="4936951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 </a:t>
            </a:r>
          </a:p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</a:t>
            </a:r>
            <a:r>
              <a:rPr lang="en-US" sz="1400" b="1" kern="0" dirty="0" err="1">
                <a:solidFill>
                  <a:sysClr val="windowText" lastClr="000000"/>
                </a:solidFill>
                <a:latin typeface="Arial"/>
              </a:rPr>
              <a:t>Jenkinsfile</a:t>
            </a:r>
            <a:endParaRPr lang="en-US" sz="1400" b="1" kern="0" dirty="0"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ticeable Challenges and Trends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-5166" y="66430"/>
            <a:ext cx="12192000" cy="1295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66" y="0"/>
            <a:ext cx="4295179" cy="6858000"/>
          </a:xfrm>
          <a:prstGeom prst="rect">
            <a:avLst/>
          </a:prstGeom>
        </p:spPr>
      </p:pic>
      <p:sp>
        <p:nvSpPr>
          <p:cNvPr id="110" name="Rounded Rectangle 109"/>
          <p:cNvSpPr/>
          <p:nvPr/>
        </p:nvSpPr>
        <p:spPr>
          <a:xfrm>
            <a:off x="5661974" y="1345104"/>
            <a:ext cx="4989485" cy="663564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1" name="Rounded Rectangle 110"/>
          <p:cNvSpPr/>
          <p:nvPr/>
        </p:nvSpPr>
        <p:spPr>
          <a:xfrm rot="2634753">
            <a:off x="5356229" y="1524543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3" name="Rounded Rectangle 112"/>
          <p:cNvSpPr/>
          <p:nvPr/>
        </p:nvSpPr>
        <p:spPr>
          <a:xfrm>
            <a:off x="5663933" y="2104110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5889696" y="2157505"/>
            <a:ext cx="299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What &amp; Why Jenkins?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5677579" y="2664806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6" name="Rounded Rectangle 115"/>
          <p:cNvSpPr/>
          <p:nvPr/>
        </p:nvSpPr>
        <p:spPr>
          <a:xfrm>
            <a:off x="5677579" y="3210710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680907" y="1466639"/>
            <a:ext cx="67627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 Continuous Integration vs Continuous Delivery vs                                                           Continuous Deployment</a:t>
            </a:r>
          </a:p>
        </p:txBody>
      </p:sp>
      <p:sp>
        <p:nvSpPr>
          <p:cNvPr id="118" name="Rounded Rectangle 117"/>
          <p:cNvSpPr/>
          <p:nvPr/>
        </p:nvSpPr>
        <p:spPr>
          <a:xfrm rot="2634753">
            <a:off x="5356229" y="2043020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9" name="Rounded Rectangle 118"/>
          <p:cNvSpPr/>
          <p:nvPr/>
        </p:nvSpPr>
        <p:spPr>
          <a:xfrm rot="2634753">
            <a:off x="5356229" y="2617364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5334926" y="2161739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2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5334926" y="2737727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3</a:t>
            </a:r>
          </a:p>
        </p:txBody>
      </p:sp>
      <p:sp>
        <p:nvSpPr>
          <p:cNvPr id="123" name="Rounded Rectangle 122"/>
          <p:cNvSpPr/>
          <p:nvPr/>
        </p:nvSpPr>
        <p:spPr>
          <a:xfrm rot="2634753">
            <a:off x="5356229" y="3163268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334926" y="3252854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4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5330220" y="1642316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1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5900295" y="3272536"/>
            <a:ext cx="4428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latin typeface="Arial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5900295" y="2741961"/>
            <a:ext cx="3733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latin typeface="Arial"/>
              </a:rPr>
              <a:t> </a:t>
            </a:r>
            <a:endParaRPr lang="en-US" sz="1400" b="1" kern="0" dirty="0">
              <a:latin typeface="Arial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259662" y="4300384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8</a:t>
            </a:r>
          </a:p>
        </p:txBody>
      </p:sp>
      <p:sp>
        <p:nvSpPr>
          <p:cNvPr id="140" name="Title 1"/>
          <p:cNvSpPr txBox="1">
            <a:spLocks/>
          </p:cNvSpPr>
          <p:nvPr/>
        </p:nvSpPr>
        <p:spPr bwMode="auto">
          <a:xfrm>
            <a:off x="5358816" y="665076"/>
            <a:ext cx="3856492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GB" sz="1800" b="1" kern="0" dirty="0"/>
              <a:t>AGENDA</a:t>
            </a:r>
          </a:p>
        </p:txBody>
      </p:sp>
      <p:sp>
        <p:nvSpPr>
          <p:cNvPr id="24" name="Rounded Rectangle 115">
            <a:extLst>
              <a:ext uri="{FF2B5EF4-FFF2-40B4-BE49-F238E27FC236}">
                <a16:creationId xmlns:a16="http://schemas.microsoft.com/office/drawing/2014/main" id="{B3E62E4E-173B-48A3-B07D-502D29AFBCAD}"/>
              </a:ext>
            </a:extLst>
          </p:cNvPr>
          <p:cNvSpPr/>
          <p:nvPr/>
        </p:nvSpPr>
        <p:spPr>
          <a:xfrm>
            <a:off x="5675225" y="3773914"/>
            <a:ext cx="4989485" cy="423037"/>
          </a:xfrm>
          <a:prstGeom prst="roundRect">
            <a:avLst/>
          </a:prstGeom>
          <a:solidFill>
            <a:srgbClr val="061844">
              <a:lumMod val="25000"/>
              <a:lumOff val="75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 </a:t>
            </a:r>
          </a:p>
          <a:p>
            <a:pPr>
              <a:defRPr/>
            </a:pP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  Create and Configure  </a:t>
            </a:r>
            <a:r>
              <a:rPr lang="en-US" sz="1400" b="1" kern="0" dirty="0" err="1">
                <a:solidFill>
                  <a:sysClr val="windowText" lastClr="000000"/>
                </a:solidFill>
                <a:latin typeface="Arial"/>
              </a:rPr>
              <a:t>FreeStyle</a:t>
            </a:r>
            <a:r>
              <a:rPr lang="en-US" sz="1400" b="1" kern="0" dirty="0">
                <a:solidFill>
                  <a:sysClr val="windowText" lastClr="000000"/>
                </a:solidFill>
                <a:latin typeface="Arial"/>
              </a:rPr>
              <a:t> Jobs</a:t>
            </a:r>
            <a:endParaRPr lang="en-US" sz="1400" b="1" kern="0" dirty="0"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5" name="Rounded Rectangle 122">
            <a:extLst>
              <a:ext uri="{FF2B5EF4-FFF2-40B4-BE49-F238E27FC236}">
                <a16:creationId xmlns:a16="http://schemas.microsoft.com/office/drawing/2014/main" id="{C8A87469-EE11-4BF8-B409-172083B82E39}"/>
              </a:ext>
            </a:extLst>
          </p:cNvPr>
          <p:cNvSpPr/>
          <p:nvPr/>
        </p:nvSpPr>
        <p:spPr>
          <a:xfrm rot="2634753">
            <a:off x="5353876" y="3752815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9C0C66-A66F-4640-943F-2A9FE5F63083}"/>
              </a:ext>
            </a:extLst>
          </p:cNvPr>
          <p:cNvSpPr txBox="1"/>
          <p:nvPr/>
        </p:nvSpPr>
        <p:spPr>
          <a:xfrm>
            <a:off x="5332573" y="3842401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5</a:t>
            </a:r>
          </a:p>
        </p:txBody>
      </p:sp>
      <p:sp>
        <p:nvSpPr>
          <p:cNvPr id="28" name="Rounded Rectangle 122">
            <a:extLst>
              <a:ext uri="{FF2B5EF4-FFF2-40B4-BE49-F238E27FC236}">
                <a16:creationId xmlns:a16="http://schemas.microsoft.com/office/drawing/2014/main" id="{C90ACDD4-7208-4FE1-BEC5-3155DE1E7D9D}"/>
              </a:ext>
            </a:extLst>
          </p:cNvPr>
          <p:cNvSpPr/>
          <p:nvPr/>
        </p:nvSpPr>
        <p:spPr>
          <a:xfrm rot="2634753">
            <a:off x="5351523" y="4340176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01CCA72-8DF4-4982-A444-3446D78D3DF2}"/>
              </a:ext>
            </a:extLst>
          </p:cNvPr>
          <p:cNvSpPr txBox="1"/>
          <p:nvPr/>
        </p:nvSpPr>
        <p:spPr>
          <a:xfrm>
            <a:off x="5330220" y="4429762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6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7F2031D-344C-40D7-8594-D9F7DF42C797}"/>
              </a:ext>
            </a:extLst>
          </p:cNvPr>
          <p:cNvSpPr/>
          <p:nvPr/>
        </p:nvSpPr>
        <p:spPr>
          <a:xfrm>
            <a:off x="5851073" y="2708187"/>
            <a:ext cx="4428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Jenkins-Installat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AE5B37-A7F6-46F7-A9E5-EAFCDD5B2AF4}"/>
              </a:ext>
            </a:extLst>
          </p:cNvPr>
          <p:cNvSpPr/>
          <p:nvPr/>
        </p:nvSpPr>
        <p:spPr>
          <a:xfrm>
            <a:off x="5848242" y="3232022"/>
            <a:ext cx="4428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latin typeface="Arial"/>
              </a:rPr>
              <a:t>Jenkins-Architecture</a:t>
            </a:r>
          </a:p>
        </p:txBody>
      </p:sp>
      <p:sp>
        <p:nvSpPr>
          <p:cNvPr id="38" name="Rounded Rectangle 122">
            <a:extLst>
              <a:ext uri="{FF2B5EF4-FFF2-40B4-BE49-F238E27FC236}">
                <a16:creationId xmlns:a16="http://schemas.microsoft.com/office/drawing/2014/main" id="{E01324E9-EC23-4AD7-A469-C2ED80DD63BB}"/>
              </a:ext>
            </a:extLst>
          </p:cNvPr>
          <p:cNvSpPr/>
          <p:nvPr/>
        </p:nvSpPr>
        <p:spPr>
          <a:xfrm rot="2634753">
            <a:off x="5407362" y="4941563"/>
            <a:ext cx="339582" cy="484256"/>
          </a:xfrm>
          <a:prstGeom prst="roundRect">
            <a:avLst/>
          </a:prstGeom>
          <a:solidFill>
            <a:srgbClr val="0768A9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DADBC48-81D9-4184-B41F-3109562D1CBE}"/>
              </a:ext>
            </a:extLst>
          </p:cNvPr>
          <p:cNvSpPr txBox="1"/>
          <p:nvPr/>
        </p:nvSpPr>
        <p:spPr>
          <a:xfrm>
            <a:off x="5373983" y="5060157"/>
            <a:ext cx="607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99263758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DDC0071-AD65-4AF0-817A-393B09FFB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b="1" dirty="0">
                <a:latin typeface="+mn-lt"/>
              </a:rPr>
              <a:t>Why use Static Code Analyser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EA70C41-1929-4D27-AA39-FB85001218B5}"/>
              </a:ext>
            </a:extLst>
          </p:cNvPr>
          <p:cNvGraphicFramePr/>
          <p:nvPr/>
        </p:nvGraphicFramePr>
        <p:xfrm>
          <a:off x="357808" y="1113183"/>
          <a:ext cx="7898296" cy="46780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434D3B9-07F8-4C58-99EF-9FBA20F26C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176" y="1699591"/>
            <a:ext cx="3554613" cy="3458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62221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35BCC-E29C-4CC0-AF4D-599794F08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kern="120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What is SonarQube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32B135-785F-4F0A-8BFC-C24645E36FA2}"/>
              </a:ext>
            </a:extLst>
          </p:cNvPr>
          <p:cNvSpPr txBox="1"/>
          <p:nvPr/>
        </p:nvSpPr>
        <p:spPr>
          <a:xfrm>
            <a:off x="685499" y="1242307"/>
            <a:ext cx="105782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66CC"/>
                </a:solidFill>
              </a:rPr>
              <a:t>SonarQube is an Opensource static code analysis software. It is used by developers to manage quality of the source code and maintain consistency. </a:t>
            </a:r>
          </a:p>
          <a:p>
            <a:endParaRPr lang="en-US" sz="2400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B83F7D7-B672-40DD-BB31-9ADABFD591C8}"/>
              </a:ext>
            </a:extLst>
          </p:cNvPr>
          <p:cNvSpPr/>
          <p:nvPr/>
        </p:nvSpPr>
        <p:spPr bwMode="auto">
          <a:xfrm>
            <a:off x="5968353" y="2149457"/>
            <a:ext cx="3893127" cy="408709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sm" len="sm"/>
            <a:tailEnd type="triangl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rchitecture &amp; Design</a:t>
            </a: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nit Tests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Duplicated Code</a:t>
            </a: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Potential Bugs</a:t>
            </a: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Coding Standards</a:t>
            </a: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Complex Code</a:t>
            </a: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dirty="0">
                <a:solidFill>
                  <a:schemeClr val="tx1"/>
                </a:solidFill>
                <a:latin typeface="Arial" charset="0"/>
              </a:rPr>
              <a:t>Comments</a:t>
            </a:r>
          </a:p>
          <a:p>
            <a:pPr marL="571500" marR="0" indent="-571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FD781D5-0CE2-4154-BD9A-B00233497C81}"/>
              </a:ext>
            </a:extLst>
          </p:cNvPr>
          <p:cNvSpPr txBox="1"/>
          <p:nvPr/>
        </p:nvSpPr>
        <p:spPr>
          <a:xfrm>
            <a:off x="2147456" y="3269673"/>
            <a:ext cx="36160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narQube covers the 7 sections of code qua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560845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A6871-DAB0-4349-92E8-EC6AC4BF6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b="1" kern="120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SonarQube - Featur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C4DF84-C45B-4F29-B7C1-EE2C7DD93AB9}"/>
              </a:ext>
            </a:extLst>
          </p:cNvPr>
          <p:cNvSpPr txBox="1"/>
          <p:nvPr/>
        </p:nvSpPr>
        <p:spPr>
          <a:xfrm>
            <a:off x="1884218" y="1427018"/>
            <a:ext cx="73290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t can work with 25 different languag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E0F1A96-1C09-49E9-96B5-F71BE12012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5419" y="2133600"/>
            <a:ext cx="3546330" cy="342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243210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010D8-93F1-4FD0-A337-B11F35335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b="1" kern="120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SonarQube - Features</a:t>
            </a:r>
            <a:endParaRPr lang="en-US" sz="3200" b="1" kern="120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1FABE6-E245-456C-9E51-6E9891FBCE82}"/>
              </a:ext>
            </a:extLst>
          </p:cNvPr>
          <p:cNvSpPr txBox="1"/>
          <p:nvPr/>
        </p:nvSpPr>
        <p:spPr>
          <a:xfrm>
            <a:off x="1884218" y="1249801"/>
            <a:ext cx="73290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Analyses and reports Tricky Issue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8225E95-0103-4BC0-9477-BF21D9814D12}"/>
              </a:ext>
            </a:extLst>
          </p:cNvPr>
          <p:cNvGraphicFramePr/>
          <p:nvPr/>
        </p:nvGraphicFramePr>
        <p:xfrm>
          <a:off x="2396836" y="1952720"/>
          <a:ext cx="6816436" cy="4309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00307848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EF0AD85-7CA0-4B1B-B04C-98F5DDCD8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228" y="166914"/>
            <a:ext cx="8621485" cy="749300"/>
          </a:xfrm>
        </p:spPr>
        <p:txBody>
          <a:bodyPr/>
          <a:lstStyle/>
          <a:p>
            <a:r>
              <a:rPr lang="en-IN" sz="3200" b="1" kern="120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SonarQube - Features</a:t>
            </a:r>
            <a:endParaRPr lang="en-US" sz="3200" b="1" kern="120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9B4D9F-95D4-4054-B0E9-ED6BAAB6EB01}"/>
              </a:ext>
            </a:extLst>
          </p:cNvPr>
          <p:cNvSpPr txBox="1"/>
          <p:nvPr/>
        </p:nvSpPr>
        <p:spPr>
          <a:xfrm>
            <a:off x="1884218" y="1249801"/>
            <a:ext cx="73290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Ensures better CI-CD. Enhanced workflow.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CD3F102-FBC0-40BF-B0E5-DC3C026C8BF1}"/>
              </a:ext>
            </a:extLst>
          </p:cNvPr>
          <p:cNvGraphicFramePr/>
          <p:nvPr/>
        </p:nvGraphicFramePr>
        <p:xfrm>
          <a:off x="2032000" y="1952720"/>
          <a:ext cx="6821713" cy="4185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62556411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1110" y="639097"/>
            <a:ext cx="3401961" cy="3686015"/>
          </a:xfrm>
        </p:spPr>
        <p:txBody>
          <a:bodyPr vert="horz" lIns="91440" tIns="45720" rIns="91440" bIns="45720" rtlCol="0" anchor="b">
            <a:normAutofit/>
          </a:bodyPr>
          <a:lstStyle/>
          <a:p>
            <a:endParaRPr lang="en-US" sz="6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E9B0937-1500-4100-B453-251ECDDEDA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 descr="A picture containing keyboard, electronics&#10;&#10;Description generated with very high confidence">
            <a:extLst>
              <a:ext uri="{FF2B5EF4-FFF2-40B4-BE49-F238E27FC236}">
                <a16:creationId xmlns:a16="http://schemas.microsoft.com/office/drawing/2014/main" id="{6D001D4C-133B-41DD-B4D2-0B0D53E505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74" y="177281"/>
            <a:ext cx="11448671" cy="578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76975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0" y="-72571"/>
            <a:ext cx="12192000" cy="6930571"/>
            <a:chOff x="0" y="-72571"/>
            <a:chExt cx="12192000" cy="6930571"/>
          </a:xfrm>
        </p:grpSpPr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0" y="-72571"/>
              <a:ext cx="12192000" cy="6930571"/>
            </a:xfrm>
            <a:prstGeom prst="rect">
              <a:avLst/>
            </a:prstGeom>
            <a:solidFill>
              <a:srgbClr val="238FBE"/>
            </a:solidFill>
            <a:ln>
              <a:noFill/>
            </a:ln>
          </p:spPr>
          <p:txBody>
            <a:bodyPr/>
            <a:lstStyle>
              <a:lvl1pPr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4872489" y="943681"/>
              <a:ext cx="917575" cy="356306"/>
            </a:xfrm>
            <a:custGeom>
              <a:avLst/>
              <a:gdLst>
                <a:gd name="T0" fmla="*/ 0 w 578"/>
                <a:gd name="T1" fmla="*/ 2147483647 h 202"/>
                <a:gd name="T2" fmla="*/ 2147483647 w 578"/>
                <a:gd name="T3" fmla="*/ 2147483647 h 202"/>
                <a:gd name="T4" fmla="*/ 2147483647 w 578"/>
                <a:gd name="T5" fmla="*/ 2147483647 h 202"/>
                <a:gd name="T6" fmla="*/ 2147483647 w 578"/>
                <a:gd name="T7" fmla="*/ 2147483647 h 202"/>
                <a:gd name="T8" fmla="*/ 2147483647 w 578"/>
                <a:gd name="T9" fmla="*/ 2147483647 h 202"/>
                <a:gd name="T10" fmla="*/ 2147483647 w 578"/>
                <a:gd name="T11" fmla="*/ 2147483647 h 202"/>
                <a:gd name="T12" fmla="*/ 2147483647 w 578"/>
                <a:gd name="T13" fmla="*/ 0 h 202"/>
                <a:gd name="T14" fmla="*/ 2147483647 w 578"/>
                <a:gd name="T15" fmla="*/ 0 h 202"/>
                <a:gd name="T16" fmla="*/ 2147483647 w 578"/>
                <a:gd name="T17" fmla="*/ 2147483647 h 202"/>
                <a:gd name="T18" fmla="*/ 2147483647 w 578"/>
                <a:gd name="T19" fmla="*/ 2147483647 h 202"/>
                <a:gd name="T20" fmla="*/ 2147483647 w 578"/>
                <a:gd name="T21" fmla="*/ 0 h 202"/>
                <a:gd name="T22" fmla="*/ 2147483647 w 578"/>
                <a:gd name="T23" fmla="*/ 0 h 202"/>
                <a:gd name="T24" fmla="*/ 0 w 578"/>
                <a:gd name="T25" fmla="*/ 2147483647 h 2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5745614" y="915460"/>
              <a:ext cx="866775" cy="405694"/>
            </a:xfrm>
            <a:custGeom>
              <a:avLst/>
              <a:gdLst>
                <a:gd name="T0" fmla="*/ 2147483647 w 273"/>
                <a:gd name="T1" fmla="*/ 2147483647 h 115"/>
                <a:gd name="T2" fmla="*/ 2147483647 w 273"/>
                <a:gd name="T3" fmla="*/ 2147483647 h 115"/>
                <a:gd name="T4" fmla="*/ 2147483647 w 273"/>
                <a:gd name="T5" fmla="*/ 2147483647 h 115"/>
                <a:gd name="T6" fmla="*/ 2147483647 w 273"/>
                <a:gd name="T7" fmla="*/ 2147483647 h 115"/>
                <a:gd name="T8" fmla="*/ 2147483647 w 273"/>
                <a:gd name="T9" fmla="*/ 2147483647 h 115"/>
                <a:gd name="T10" fmla="*/ 2147483647 w 273"/>
                <a:gd name="T11" fmla="*/ 2147483647 h 115"/>
                <a:gd name="T12" fmla="*/ 2147483647 w 273"/>
                <a:gd name="T13" fmla="*/ 2147483647 h 115"/>
                <a:gd name="T14" fmla="*/ 2147483647 w 273"/>
                <a:gd name="T15" fmla="*/ 2147483647 h 115"/>
                <a:gd name="T16" fmla="*/ 2147483647 w 273"/>
                <a:gd name="T17" fmla="*/ 2147483647 h 115"/>
                <a:gd name="T18" fmla="*/ 2147483647 w 273"/>
                <a:gd name="T19" fmla="*/ 2147483647 h 115"/>
                <a:gd name="T20" fmla="*/ 2147483647 w 273"/>
                <a:gd name="T21" fmla="*/ 2147483647 h 115"/>
                <a:gd name="T22" fmla="*/ 2147483647 w 273"/>
                <a:gd name="T23" fmla="*/ 2147483647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93339" y="943681"/>
              <a:ext cx="669925" cy="356306"/>
            </a:xfrm>
            <a:custGeom>
              <a:avLst/>
              <a:gdLst>
                <a:gd name="T0" fmla="*/ 2147483647 w 422"/>
                <a:gd name="T1" fmla="*/ 0 h 202"/>
                <a:gd name="T2" fmla="*/ 2147483647 w 422"/>
                <a:gd name="T3" fmla="*/ 2147483647 h 202"/>
                <a:gd name="T4" fmla="*/ 2147483647 w 422"/>
                <a:gd name="T5" fmla="*/ 2147483647 h 202"/>
                <a:gd name="T6" fmla="*/ 2147483647 w 422"/>
                <a:gd name="T7" fmla="*/ 2147483647 h 202"/>
                <a:gd name="T8" fmla="*/ 0 w 422"/>
                <a:gd name="T9" fmla="*/ 2147483647 h 202"/>
                <a:gd name="T10" fmla="*/ 2147483647 w 422"/>
                <a:gd name="T11" fmla="*/ 0 h 202"/>
                <a:gd name="T12" fmla="*/ 2147483647 w 422"/>
                <a:gd name="T13" fmla="*/ 0 h 2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3337916" y="3116056"/>
              <a:ext cx="5602530" cy="1952809"/>
              <a:chOff x="3670064" y="3116056"/>
              <a:chExt cx="4952999" cy="1952809"/>
            </a:xfrm>
          </p:grpSpPr>
          <p:sp>
            <p:nvSpPr>
              <p:cNvPr id="9" name="Line 49"/>
              <p:cNvSpPr>
                <a:spLocks noChangeShapeType="1"/>
              </p:cNvSpPr>
              <p:nvPr/>
            </p:nvSpPr>
            <p:spPr bwMode="auto">
              <a:xfrm>
                <a:off x="3736738" y="4641820"/>
                <a:ext cx="4864100" cy="0"/>
              </a:xfrm>
              <a:prstGeom prst="line">
                <a:avLst/>
              </a:prstGeom>
              <a:noFill/>
              <a:ln w="6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 50"/>
              <p:cNvSpPr>
                <a:spLocks noEditPoints="1"/>
              </p:cNvSpPr>
              <p:nvPr/>
            </p:nvSpPr>
            <p:spPr bwMode="auto">
              <a:xfrm>
                <a:off x="4622564" y="4010348"/>
                <a:ext cx="111125" cy="165806"/>
              </a:xfrm>
              <a:custGeom>
                <a:avLst/>
                <a:gdLst>
                  <a:gd name="T0" fmla="*/ 2147483647 w 35"/>
                  <a:gd name="T1" fmla="*/ 0 h 47"/>
                  <a:gd name="T2" fmla="*/ 2147483647 w 35"/>
                  <a:gd name="T3" fmla="*/ 2147483647 h 47"/>
                  <a:gd name="T4" fmla="*/ 2147483647 w 35"/>
                  <a:gd name="T5" fmla="*/ 2147483647 h 47"/>
                  <a:gd name="T6" fmla="*/ 2147483647 w 35"/>
                  <a:gd name="T7" fmla="*/ 2147483647 h 47"/>
                  <a:gd name="T8" fmla="*/ 2147483647 w 35"/>
                  <a:gd name="T9" fmla="*/ 2147483647 h 47"/>
                  <a:gd name="T10" fmla="*/ 2147483647 w 35"/>
                  <a:gd name="T11" fmla="*/ 2147483647 h 47"/>
                  <a:gd name="T12" fmla="*/ 0 w 35"/>
                  <a:gd name="T13" fmla="*/ 2147483647 h 47"/>
                  <a:gd name="T14" fmla="*/ 0 w 35"/>
                  <a:gd name="T15" fmla="*/ 0 h 47"/>
                  <a:gd name="T16" fmla="*/ 2147483647 w 35"/>
                  <a:gd name="T17" fmla="*/ 0 h 47"/>
                  <a:gd name="T18" fmla="*/ 2147483647 w 35"/>
                  <a:gd name="T19" fmla="*/ 2147483647 h 47"/>
                  <a:gd name="T20" fmla="*/ 2147483647 w 35"/>
                  <a:gd name="T21" fmla="*/ 2147483647 h 47"/>
                  <a:gd name="T22" fmla="*/ 2147483647 w 35"/>
                  <a:gd name="T23" fmla="*/ 2147483647 h 47"/>
                  <a:gd name="T24" fmla="*/ 2147483647 w 35"/>
                  <a:gd name="T25" fmla="*/ 2147483647 h 47"/>
                  <a:gd name="T26" fmla="*/ 2147483647 w 35"/>
                  <a:gd name="T27" fmla="*/ 2147483647 h 47"/>
                  <a:gd name="T28" fmla="*/ 2147483647 w 35"/>
                  <a:gd name="T29" fmla="*/ 2147483647 h 47"/>
                  <a:gd name="T30" fmla="*/ 2147483647 w 35"/>
                  <a:gd name="T31" fmla="*/ 2147483647 h 47"/>
                  <a:gd name="T32" fmla="*/ 2147483647 w 35"/>
                  <a:gd name="T33" fmla="*/ 2147483647 h 47"/>
                  <a:gd name="T34" fmla="*/ 2147483647 w 35"/>
                  <a:gd name="T35" fmla="*/ 2147483647 h 47"/>
                  <a:gd name="T36" fmla="*/ 2147483647 w 35"/>
                  <a:gd name="T37" fmla="*/ 2147483647 h 47"/>
                  <a:gd name="T38" fmla="*/ 2147483647 w 35"/>
                  <a:gd name="T39" fmla="*/ 2147483647 h 47"/>
                  <a:gd name="T40" fmla="*/ 2147483647 w 35"/>
                  <a:gd name="T41" fmla="*/ 2147483647 h 4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35" h="47">
                    <a:moveTo>
                      <a:pt x="19" y="0"/>
                    </a:moveTo>
                    <a:cubicBezTo>
                      <a:pt x="27" y="0"/>
                      <a:pt x="32" y="5"/>
                      <a:pt x="32" y="12"/>
                    </a:cubicBezTo>
                    <a:cubicBezTo>
                      <a:pt x="32" y="16"/>
                      <a:pt x="29" y="20"/>
                      <a:pt x="25" y="21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30" y="22"/>
                      <a:pt x="35" y="27"/>
                      <a:pt x="35" y="33"/>
                    </a:cubicBezTo>
                    <a:cubicBezTo>
                      <a:pt x="35" y="41"/>
                      <a:pt x="30" y="47"/>
                      <a:pt x="19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9" y="0"/>
                    </a:lnTo>
                    <a:close/>
                    <a:moveTo>
                      <a:pt x="17" y="19"/>
                    </a:moveTo>
                    <a:cubicBezTo>
                      <a:pt x="22" y="19"/>
                      <a:pt x="25" y="16"/>
                      <a:pt x="25" y="13"/>
                    </a:cubicBezTo>
                    <a:cubicBezTo>
                      <a:pt x="25" y="9"/>
                      <a:pt x="22" y="6"/>
                      <a:pt x="17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19"/>
                      <a:pt x="8" y="19"/>
                      <a:pt x="8" y="19"/>
                    </a:cubicBezTo>
                    <a:lnTo>
                      <a:pt x="17" y="19"/>
                    </a:lnTo>
                    <a:close/>
                    <a:moveTo>
                      <a:pt x="19" y="41"/>
                    </a:moveTo>
                    <a:cubicBezTo>
                      <a:pt x="24" y="41"/>
                      <a:pt x="28" y="37"/>
                      <a:pt x="28" y="33"/>
                    </a:cubicBezTo>
                    <a:cubicBezTo>
                      <a:pt x="28" y="28"/>
                      <a:pt x="24" y="25"/>
                      <a:pt x="19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41"/>
                      <a:pt x="8" y="41"/>
                      <a:pt x="8" y="41"/>
                    </a:cubicBezTo>
                    <a:lnTo>
                      <a:pt x="19" y="4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Freeform 51"/>
              <p:cNvSpPr>
                <a:spLocks/>
              </p:cNvSpPr>
              <p:nvPr/>
            </p:nvSpPr>
            <p:spPr bwMode="auto">
              <a:xfrm>
                <a:off x="4768614" y="4010348"/>
                <a:ext cx="104775" cy="165806"/>
              </a:xfrm>
              <a:custGeom>
                <a:avLst/>
                <a:gdLst>
                  <a:gd name="T0" fmla="*/ 2147483647 w 66"/>
                  <a:gd name="T1" fmla="*/ 2147483647 h 94"/>
                  <a:gd name="T2" fmla="*/ 2147483647 w 66"/>
                  <a:gd name="T3" fmla="*/ 2147483647 h 94"/>
                  <a:gd name="T4" fmla="*/ 0 w 66"/>
                  <a:gd name="T5" fmla="*/ 2147483647 h 94"/>
                  <a:gd name="T6" fmla="*/ 0 w 66"/>
                  <a:gd name="T7" fmla="*/ 0 h 94"/>
                  <a:gd name="T8" fmla="*/ 2147483647 w 66"/>
                  <a:gd name="T9" fmla="*/ 0 h 94"/>
                  <a:gd name="T10" fmla="*/ 2147483647 w 66"/>
                  <a:gd name="T11" fmla="*/ 2147483647 h 94"/>
                  <a:gd name="T12" fmla="*/ 2147483647 w 66"/>
                  <a:gd name="T13" fmla="*/ 2147483647 h 94"/>
                  <a:gd name="T14" fmla="*/ 2147483647 w 66"/>
                  <a:gd name="T15" fmla="*/ 2147483647 h 94"/>
                  <a:gd name="T16" fmla="*/ 2147483647 w 66"/>
                  <a:gd name="T17" fmla="*/ 2147483647 h 94"/>
                  <a:gd name="T18" fmla="*/ 2147483647 w 66"/>
                  <a:gd name="T19" fmla="*/ 2147483647 h 94"/>
                  <a:gd name="T20" fmla="*/ 2147483647 w 66"/>
                  <a:gd name="T21" fmla="*/ 2147483647 h 94"/>
                  <a:gd name="T22" fmla="*/ 2147483647 w 66"/>
                  <a:gd name="T23" fmla="*/ 2147483647 h 94"/>
                  <a:gd name="T24" fmla="*/ 2147483647 w 66"/>
                  <a:gd name="T25" fmla="*/ 2147483647 h 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94">
                    <a:moveTo>
                      <a:pt x="66" y="80"/>
                    </a:moveTo>
                    <a:lnTo>
                      <a:pt x="66" y="94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64" y="14"/>
                    </a:lnTo>
                    <a:lnTo>
                      <a:pt x="16" y="14"/>
                    </a:lnTo>
                    <a:lnTo>
                      <a:pt x="16" y="38"/>
                    </a:lnTo>
                    <a:lnTo>
                      <a:pt x="54" y="38"/>
                    </a:lnTo>
                    <a:lnTo>
                      <a:pt x="54" y="52"/>
                    </a:lnTo>
                    <a:lnTo>
                      <a:pt x="16" y="52"/>
                    </a:lnTo>
                    <a:lnTo>
                      <a:pt x="16" y="80"/>
                    </a:lnTo>
                    <a:lnTo>
                      <a:pt x="66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Freeform 52"/>
              <p:cNvSpPr>
                <a:spLocks/>
              </p:cNvSpPr>
              <p:nvPr/>
            </p:nvSpPr>
            <p:spPr bwMode="auto">
              <a:xfrm>
                <a:off x="4898789" y="4010348"/>
                <a:ext cx="136525" cy="165806"/>
              </a:xfrm>
              <a:custGeom>
                <a:avLst/>
                <a:gdLst>
                  <a:gd name="T0" fmla="*/ 2147483647 w 43"/>
                  <a:gd name="T1" fmla="*/ 0 h 47"/>
                  <a:gd name="T2" fmla="*/ 2147483647 w 43"/>
                  <a:gd name="T3" fmla="*/ 2147483647 h 47"/>
                  <a:gd name="T4" fmla="*/ 2147483647 w 43"/>
                  <a:gd name="T5" fmla="*/ 2147483647 h 47"/>
                  <a:gd name="T6" fmla="*/ 2147483647 w 43"/>
                  <a:gd name="T7" fmla="*/ 2147483647 h 47"/>
                  <a:gd name="T8" fmla="*/ 2147483647 w 43"/>
                  <a:gd name="T9" fmla="*/ 2147483647 h 47"/>
                  <a:gd name="T10" fmla="*/ 0 w 43"/>
                  <a:gd name="T11" fmla="*/ 0 h 47"/>
                  <a:gd name="T12" fmla="*/ 2147483647 w 43"/>
                  <a:gd name="T13" fmla="*/ 0 h 47"/>
                  <a:gd name="T14" fmla="*/ 2147483647 w 43"/>
                  <a:gd name="T15" fmla="*/ 2147483647 h 47"/>
                  <a:gd name="T16" fmla="*/ 2147483647 w 43"/>
                  <a:gd name="T17" fmla="*/ 2147483647 h 47"/>
                  <a:gd name="T18" fmla="*/ 2147483647 w 43"/>
                  <a:gd name="T19" fmla="*/ 2147483647 h 47"/>
                  <a:gd name="T20" fmla="*/ 2147483647 w 43"/>
                  <a:gd name="T21" fmla="*/ 2147483647 h 47"/>
                  <a:gd name="T22" fmla="*/ 2147483647 w 43"/>
                  <a:gd name="T23" fmla="*/ 0 h 47"/>
                  <a:gd name="T24" fmla="*/ 2147483647 w 43"/>
                  <a:gd name="T25" fmla="*/ 0 h 4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3" h="47">
                    <a:moveTo>
                      <a:pt x="43" y="0"/>
                    </a:moveTo>
                    <a:cubicBezTo>
                      <a:pt x="25" y="25"/>
                      <a:pt x="25" y="25"/>
                      <a:pt x="25" y="25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18" y="47"/>
                      <a:pt x="18" y="47"/>
                      <a:pt x="18" y="47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20" y="16"/>
                      <a:pt x="21" y="18"/>
                      <a:pt x="21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3" y="16"/>
                      <a:pt x="24" y="14"/>
                    </a:cubicBezTo>
                    <a:cubicBezTo>
                      <a:pt x="35" y="0"/>
                      <a:pt x="35" y="0"/>
                      <a:pt x="35" y="0"/>
                    </a:cubicBez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Freeform 53"/>
              <p:cNvSpPr>
                <a:spLocks noEditPoints="1"/>
              </p:cNvSpPr>
              <p:nvPr/>
            </p:nvSpPr>
            <p:spPr bwMode="auto">
              <a:xfrm>
                <a:off x="5041663" y="4006821"/>
                <a:ext cx="152400" cy="172861"/>
              </a:xfrm>
              <a:custGeom>
                <a:avLst/>
                <a:gdLst>
                  <a:gd name="T0" fmla="*/ 2147483647 w 48"/>
                  <a:gd name="T1" fmla="*/ 0 h 49"/>
                  <a:gd name="T2" fmla="*/ 2147483647 w 48"/>
                  <a:gd name="T3" fmla="*/ 2147483647 h 49"/>
                  <a:gd name="T4" fmla="*/ 2147483647 w 48"/>
                  <a:gd name="T5" fmla="*/ 2147483647 h 49"/>
                  <a:gd name="T6" fmla="*/ 0 w 48"/>
                  <a:gd name="T7" fmla="*/ 2147483647 h 49"/>
                  <a:gd name="T8" fmla="*/ 2147483647 w 48"/>
                  <a:gd name="T9" fmla="*/ 0 h 49"/>
                  <a:gd name="T10" fmla="*/ 2147483647 w 48"/>
                  <a:gd name="T11" fmla="*/ 2147483647 h 49"/>
                  <a:gd name="T12" fmla="*/ 2147483647 w 48"/>
                  <a:gd name="T13" fmla="*/ 2147483647 h 49"/>
                  <a:gd name="T14" fmla="*/ 2147483647 w 48"/>
                  <a:gd name="T15" fmla="*/ 2147483647 h 49"/>
                  <a:gd name="T16" fmla="*/ 2147483647 w 48"/>
                  <a:gd name="T17" fmla="*/ 2147483647 h 49"/>
                  <a:gd name="T18" fmla="*/ 2147483647 w 48"/>
                  <a:gd name="T19" fmla="*/ 2147483647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8" h="49">
                    <a:moveTo>
                      <a:pt x="24" y="0"/>
                    </a:move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9"/>
                      <a:pt x="37" y="49"/>
                      <a:pt x="24" y="49"/>
                    </a:cubicBezTo>
                    <a:cubicBezTo>
                      <a:pt x="11" y="49"/>
                      <a:pt x="0" y="39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moveTo>
                      <a:pt x="24" y="41"/>
                    </a:moveTo>
                    <a:cubicBezTo>
                      <a:pt x="34" y="41"/>
                      <a:pt x="41" y="35"/>
                      <a:pt x="41" y="24"/>
                    </a:cubicBezTo>
                    <a:cubicBezTo>
                      <a:pt x="41" y="14"/>
                      <a:pt x="34" y="7"/>
                      <a:pt x="24" y="7"/>
                    </a:cubicBezTo>
                    <a:cubicBezTo>
                      <a:pt x="14" y="7"/>
                      <a:pt x="7" y="14"/>
                      <a:pt x="7" y="24"/>
                    </a:cubicBezTo>
                    <a:cubicBezTo>
                      <a:pt x="7" y="35"/>
                      <a:pt x="14" y="41"/>
                      <a:pt x="24" y="4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Freeform 54"/>
              <p:cNvSpPr>
                <a:spLocks/>
              </p:cNvSpPr>
              <p:nvPr/>
            </p:nvSpPr>
            <p:spPr bwMode="auto">
              <a:xfrm>
                <a:off x="5228989" y="4010348"/>
                <a:ext cx="123825" cy="165806"/>
              </a:xfrm>
              <a:custGeom>
                <a:avLst/>
                <a:gdLst>
                  <a:gd name="T0" fmla="*/ 2147483647 w 39"/>
                  <a:gd name="T1" fmla="*/ 0 h 47"/>
                  <a:gd name="T2" fmla="*/ 2147483647 w 39"/>
                  <a:gd name="T3" fmla="*/ 2147483647 h 47"/>
                  <a:gd name="T4" fmla="*/ 2147483647 w 39"/>
                  <a:gd name="T5" fmla="*/ 2147483647 h 47"/>
                  <a:gd name="T6" fmla="*/ 2147483647 w 39"/>
                  <a:gd name="T7" fmla="*/ 2147483647 h 47"/>
                  <a:gd name="T8" fmla="*/ 2147483647 w 39"/>
                  <a:gd name="T9" fmla="*/ 2147483647 h 47"/>
                  <a:gd name="T10" fmla="*/ 2147483647 w 39"/>
                  <a:gd name="T11" fmla="*/ 2147483647 h 47"/>
                  <a:gd name="T12" fmla="*/ 2147483647 w 39"/>
                  <a:gd name="T13" fmla="*/ 2147483647 h 47"/>
                  <a:gd name="T14" fmla="*/ 2147483647 w 39"/>
                  <a:gd name="T15" fmla="*/ 2147483647 h 47"/>
                  <a:gd name="T16" fmla="*/ 0 w 39"/>
                  <a:gd name="T17" fmla="*/ 2147483647 h 47"/>
                  <a:gd name="T18" fmla="*/ 0 w 39"/>
                  <a:gd name="T19" fmla="*/ 0 h 47"/>
                  <a:gd name="T20" fmla="*/ 2147483647 w 39"/>
                  <a:gd name="T21" fmla="*/ 0 h 47"/>
                  <a:gd name="T22" fmla="*/ 2147483647 w 39"/>
                  <a:gd name="T23" fmla="*/ 2147483647 h 47"/>
                  <a:gd name="T24" fmla="*/ 2147483647 w 39"/>
                  <a:gd name="T25" fmla="*/ 2147483647 h 47"/>
                  <a:gd name="T26" fmla="*/ 2147483647 w 39"/>
                  <a:gd name="T27" fmla="*/ 2147483647 h 47"/>
                  <a:gd name="T28" fmla="*/ 2147483647 w 39"/>
                  <a:gd name="T29" fmla="*/ 2147483647 h 47"/>
                  <a:gd name="T30" fmla="*/ 2147483647 w 39"/>
                  <a:gd name="T31" fmla="*/ 0 h 47"/>
                  <a:gd name="T32" fmla="*/ 2147483647 w 39"/>
                  <a:gd name="T33" fmla="*/ 0 h 4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9" h="47">
                    <a:moveTo>
                      <a:pt x="39" y="0"/>
                    </a:moveTo>
                    <a:cubicBezTo>
                      <a:pt x="39" y="47"/>
                      <a:pt x="39" y="47"/>
                      <a:pt x="39" y="47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1" y="18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9"/>
                      <a:pt x="7" y="2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7" y="28"/>
                      <a:pt x="32" y="34"/>
                      <a:pt x="32" y="34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4"/>
                      <a:pt x="32" y="27"/>
                      <a:pt x="32" y="20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3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Freeform 55"/>
              <p:cNvSpPr>
                <a:spLocks noEditPoints="1"/>
              </p:cNvSpPr>
              <p:nvPr/>
            </p:nvSpPr>
            <p:spPr bwMode="auto">
              <a:xfrm>
                <a:off x="5400438" y="4010348"/>
                <a:ext cx="139700" cy="165806"/>
              </a:xfrm>
              <a:custGeom>
                <a:avLst/>
                <a:gdLst>
                  <a:gd name="T0" fmla="*/ 2147483647 w 44"/>
                  <a:gd name="T1" fmla="*/ 0 h 47"/>
                  <a:gd name="T2" fmla="*/ 2147483647 w 44"/>
                  <a:gd name="T3" fmla="*/ 2147483647 h 47"/>
                  <a:gd name="T4" fmla="*/ 2147483647 w 44"/>
                  <a:gd name="T5" fmla="*/ 2147483647 h 47"/>
                  <a:gd name="T6" fmla="*/ 0 w 44"/>
                  <a:gd name="T7" fmla="*/ 2147483647 h 47"/>
                  <a:gd name="T8" fmla="*/ 0 w 44"/>
                  <a:gd name="T9" fmla="*/ 0 h 47"/>
                  <a:gd name="T10" fmla="*/ 2147483647 w 44"/>
                  <a:gd name="T11" fmla="*/ 0 h 47"/>
                  <a:gd name="T12" fmla="*/ 2147483647 w 44"/>
                  <a:gd name="T13" fmla="*/ 2147483647 h 47"/>
                  <a:gd name="T14" fmla="*/ 2147483647 w 44"/>
                  <a:gd name="T15" fmla="*/ 2147483647 h 47"/>
                  <a:gd name="T16" fmla="*/ 2147483647 w 44"/>
                  <a:gd name="T17" fmla="*/ 2147483647 h 47"/>
                  <a:gd name="T18" fmla="*/ 2147483647 w 44"/>
                  <a:gd name="T19" fmla="*/ 2147483647 h 47"/>
                  <a:gd name="T20" fmla="*/ 2147483647 w 44"/>
                  <a:gd name="T21" fmla="*/ 2147483647 h 47"/>
                  <a:gd name="T22" fmla="*/ 2147483647 w 44"/>
                  <a:gd name="T23" fmla="*/ 2147483647 h 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4" h="47">
                    <a:moveTo>
                      <a:pt x="20" y="0"/>
                    </a:moveTo>
                    <a:cubicBezTo>
                      <a:pt x="33" y="0"/>
                      <a:pt x="44" y="10"/>
                      <a:pt x="44" y="24"/>
                    </a:cubicBezTo>
                    <a:cubicBezTo>
                      <a:pt x="44" y="38"/>
                      <a:pt x="33" y="47"/>
                      <a:pt x="20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0" y="0"/>
                    </a:lnTo>
                    <a:close/>
                    <a:moveTo>
                      <a:pt x="20" y="40"/>
                    </a:moveTo>
                    <a:cubicBezTo>
                      <a:pt x="29" y="40"/>
                      <a:pt x="36" y="34"/>
                      <a:pt x="36" y="24"/>
                    </a:cubicBezTo>
                    <a:cubicBezTo>
                      <a:pt x="36" y="13"/>
                      <a:pt x="29" y="7"/>
                      <a:pt x="20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40"/>
                      <a:pt x="7" y="40"/>
                      <a:pt x="7" y="40"/>
                    </a:cubicBezTo>
                    <a:lnTo>
                      <a:pt x="20" y="4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 56"/>
              <p:cNvSpPr>
                <a:spLocks/>
              </p:cNvSpPr>
              <p:nvPr/>
            </p:nvSpPr>
            <p:spPr bwMode="auto">
              <a:xfrm>
                <a:off x="5622689" y="4010348"/>
                <a:ext cx="117475" cy="165806"/>
              </a:xfrm>
              <a:custGeom>
                <a:avLst/>
                <a:gdLst>
                  <a:gd name="T0" fmla="*/ 2147483647 w 74"/>
                  <a:gd name="T1" fmla="*/ 0 h 94"/>
                  <a:gd name="T2" fmla="*/ 2147483647 w 74"/>
                  <a:gd name="T3" fmla="*/ 2147483647 h 94"/>
                  <a:gd name="T4" fmla="*/ 2147483647 w 74"/>
                  <a:gd name="T5" fmla="*/ 2147483647 h 94"/>
                  <a:gd name="T6" fmla="*/ 2147483647 w 74"/>
                  <a:gd name="T7" fmla="*/ 2147483647 h 94"/>
                  <a:gd name="T8" fmla="*/ 2147483647 w 74"/>
                  <a:gd name="T9" fmla="*/ 2147483647 h 94"/>
                  <a:gd name="T10" fmla="*/ 2147483647 w 74"/>
                  <a:gd name="T11" fmla="*/ 2147483647 h 94"/>
                  <a:gd name="T12" fmla="*/ 0 w 74"/>
                  <a:gd name="T13" fmla="*/ 2147483647 h 94"/>
                  <a:gd name="T14" fmla="*/ 0 w 74"/>
                  <a:gd name="T15" fmla="*/ 0 h 94"/>
                  <a:gd name="T16" fmla="*/ 2147483647 w 74"/>
                  <a:gd name="T17" fmla="*/ 0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4" h="94">
                    <a:moveTo>
                      <a:pt x="74" y="0"/>
                    </a:moveTo>
                    <a:lnTo>
                      <a:pt x="74" y="14"/>
                    </a:lnTo>
                    <a:lnTo>
                      <a:pt x="44" y="14"/>
                    </a:lnTo>
                    <a:lnTo>
                      <a:pt x="44" y="94"/>
                    </a:lnTo>
                    <a:lnTo>
                      <a:pt x="30" y="94"/>
                    </a:lnTo>
                    <a:lnTo>
                      <a:pt x="30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 57"/>
              <p:cNvSpPr>
                <a:spLocks/>
              </p:cNvSpPr>
              <p:nvPr/>
            </p:nvSpPr>
            <p:spPr bwMode="auto">
              <a:xfrm>
                <a:off x="5771913" y="4010348"/>
                <a:ext cx="120650" cy="165806"/>
              </a:xfrm>
              <a:custGeom>
                <a:avLst/>
                <a:gdLst>
                  <a:gd name="T0" fmla="*/ 2147483647 w 76"/>
                  <a:gd name="T1" fmla="*/ 0 h 94"/>
                  <a:gd name="T2" fmla="*/ 2147483647 w 76"/>
                  <a:gd name="T3" fmla="*/ 2147483647 h 94"/>
                  <a:gd name="T4" fmla="*/ 2147483647 w 76"/>
                  <a:gd name="T5" fmla="*/ 2147483647 h 94"/>
                  <a:gd name="T6" fmla="*/ 2147483647 w 76"/>
                  <a:gd name="T7" fmla="*/ 2147483647 h 94"/>
                  <a:gd name="T8" fmla="*/ 2147483647 w 76"/>
                  <a:gd name="T9" fmla="*/ 2147483647 h 94"/>
                  <a:gd name="T10" fmla="*/ 2147483647 w 76"/>
                  <a:gd name="T11" fmla="*/ 2147483647 h 94"/>
                  <a:gd name="T12" fmla="*/ 0 w 76"/>
                  <a:gd name="T13" fmla="*/ 2147483647 h 94"/>
                  <a:gd name="T14" fmla="*/ 0 w 76"/>
                  <a:gd name="T15" fmla="*/ 0 h 94"/>
                  <a:gd name="T16" fmla="*/ 2147483647 w 76"/>
                  <a:gd name="T17" fmla="*/ 0 h 94"/>
                  <a:gd name="T18" fmla="*/ 2147483647 w 76"/>
                  <a:gd name="T19" fmla="*/ 2147483647 h 94"/>
                  <a:gd name="T20" fmla="*/ 2147483647 w 76"/>
                  <a:gd name="T21" fmla="*/ 2147483647 h 94"/>
                  <a:gd name="T22" fmla="*/ 2147483647 w 76"/>
                  <a:gd name="T23" fmla="*/ 0 h 94"/>
                  <a:gd name="T24" fmla="*/ 2147483647 w 76"/>
                  <a:gd name="T25" fmla="*/ 0 h 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76" h="94">
                    <a:moveTo>
                      <a:pt x="76" y="0"/>
                    </a:moveTo>
                    <a:lnTo>
                      <a:pt x="76" y="94"/>
                    </a:lnTo>
                    <a:lnTo>
                      <a:pt x="60" y="94"/>
                    </a:lnTo>
                    <a:lnTo>
                      <a:pt x="60" y="52"/>
                    </a:lnTo>
                    <a:lnTo>
                      <a:pt x="16" y="52"/>
                    </a:lnTo>
                    <a:lnTo>
                      <a:pt x="16" y="94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16" y="38"/>
                    </a:lnTo>
                    <a:lnTo>
                      <a:pt x="60" y="38"/>
                    </a:lnTo>
                    <a:lnTo>
                      <a:pt x="6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Freeform 58"/>
              <p:cNvSpPr>
                <a:spLocks/>
              </p:cNvSpPr>
              <p:nvPr/>
            </p:nvSpPr>
            <p:spPr bwMode="auto">
              <a:xfrm>
                <a:off x="5937014" y="4010348"/>
                <a:ext cx="104775" cy="165806"/>
              </a:xfrm>
              <a:custGeom>
                <a:avLst/>
                <a:gdLst>
                  <a:gd name="T0" fmla="*/ 2147483647 w 66"/>
                  <a:gd name="T1" fmla="*/ 2147483647 h 94"/>
                  <a:gd name="T2" fmla="*/ 2147483647 w 66"/>
                  <a:gd name="T3" fmla="*/ 2147483647 h 94"/>
                  <a:gd name="T4" fmla="*/ 0 w 66"/>
                  <a:gd name="T5" fmla="*/ 2147483647 h 94"/>
                  <a:gd name="T6" fmla="*/ 0 w 66"/>
                  <a:gd name="T7" fmla="*/ 0 h 94"/>
                  <a:gd name="T8" fmla="*/ 2147483647 w 66"/>
                  <a:gd name="T9" fmla="*/ 0 h 94"/>
                  <a:gd name="T10" fmla="*/ 2147483647 w 66"/>
                  <a:gd name="T11" fmla="*/ 2147483647 h 94"/>
                  <a:gd name="T12" fmla="*/ 2147483647 w 66"/>
                  <a:gd name="T13" fmla="*/ 2147483647 h 94"/>
                  <a:gd name="T14" fmla="*/ 2147483647 w 66"/>
                  <a:gd name="T15" fmla="*/ 2147483647 h 94"/>
                  <a:gd name="T16" fmla="*/ 2147483647 w 66"/>
                  <a:gd name="T17" fmla="*/ 2147483647 h 94"/>
                  <a:gd name="T18" fmla="*/ 2147483647 w 66"/>
                  <a:gd name="T19" fmla="*/ 2147483647 h 94"/>
                  <a:gd name="T20" fmla="*/ 2147483647 w 66"/>
                  <a:gd name="T21" fmla="*/ 2147483647 h 94"/>
                  <a:gd name="T22" fmla="*/ 2147483647 w 66"/>
                  <a:gd name="T23" fmla="*/ 2147483647 h 94"/>
                  <a:gd name="T24" fmla="*/ 2147483647 w 66"/>
                  <a:gd name="T25" fmla="*/ 2147483647 h 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94">
                    <a:moveTo>
                      <a:pt x="66" y="80"/>
                    </a:moveTo>
                    <a:lnTo>
                      <a:pt x="66" y="94"/>
                    </a:lnTo>
                    <a:lnTo>
                      <a:pt x="0" y="94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64" y="14"/>
                    </a:lnTo>
                    <a:lnTo>
                      <a:pt x="16" y="14"/>
                    </a:lnTo>
                    <a:lnTo>
                      <a:pt x="16" y="38"/>
                    </a:lnTo>
                    <a:lnTo>
                      <a:pt x="54" y="38"/>
                    </a:lnTo>
                    <a:lnTo>
                      <a:pt x="54" y="52"/>
                    </a:lnTo>
                    <a:lnTo>
                      <a:pt x="16" y="52"/>
                    </a:lnTo>
                    <a:lnTo>
                      <a:pt x="16" y="80"/>
                    </a:lnTo>
                    <a:lnTo>
                      <a:pt x="66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6133863" y="4006821"/>
                <a:ext cx="146050" cy="172861"/>
              </a:xfrm>
              <a:custGeom>
                <a:avLst/>
                <a:gdLst>
                  <a:gd name="T0" fmla="*/ 2147483647 w 46"/>
                  <a:gd name="T1" fmla="*/ 2147483647 h 49"/>
                  <a:gd name="T2" fmla="*/ 2147483647 w 46"/>
                  <a:gd name="T3" fmla="*/ 2147483647 h 49"/>
                  <a:gd name="T4" fmla="*/ 2147483647 w 46"/>
                  <a:gd name="T5" fmla="*/ 2147483647 h 49"/>
                  <a:gd name="T6" fmla="*/ 2147483647 w 46"/>
                  <a:gd name="T7" fmla="*/ 2147483647 h 49"/>
                  <a:gd name="T8" fmla="*/ 2147483647 w 46"/>
                  <a:gd name="T9" fmla="*/ 2147483647 h 49"/>
                  <a:gd name="T10" fmla="*/ 2147483647 w 46"/>
                  <a:gd name="T11" fmla="*/ 2147483647 h 49"/>
                  <a:gd name="T12" fmla="*/ 2147483647 w 46"/>
                  <a:gd name="T13" fmla="*/ 2147483647 h 49"/>
                  <a:gd name="T14" fmla="*/ 0 w 46"/>
                  <a:gd name="T15" fmla="*/ 2147483647 h 49"/>
                  <a:gd name="T16" fmla="*/ 2147483647 w 46"/>
                  <a:gd name="T17" fmla="*/ 0 h 49"/>
                  <a:gd name="T18" fmla="*/ 2147483647 w 46"/>
                  <a:gd name="T19" fmla="*/ 2147483647 h 49"/>
                  <a:gd name="T20" fmla="*/ 2147483647 w 46"/>
                  <a:gd name="T21" fmla="*/ 2147483647 h 4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6" h="49">
                    <a:moveTo>
                      <a:pt x="38" y="14"/>
                    </a:moveTo>
                    <a:cubicBezTo>
                      <a:pt x="35" y="10"/>
                      <a:pt x="30" y="7"/>
                      <a:pt x="24" y="7"/>
                    </a:cubicBezTo>
                    <a:cubicBezTo>
                      <a:pt x="14" y="7"/>
                      <a:pt x="7" y="14"/>
                      <a:pt x="7" y="24"/>
                    </a:cubicBezTo>
                    <a:cubicBezTo>
                      <a:pt x="7" y="35"/>
                      <a:pt x="15" y="41"/>
                      <a:pt x="24" y="41"/>
                    </a:cubicBezTo>
                    <a:cubicBezTo>
                      <a:pt x="30" y="41"/>
                      <a:pt x="36" y="38"/>
                      <a:pt x="39" y="33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2" y="43"/>
                      <a:pt x="34" y="49"/>
                      <a:pt x="24" y="49"/>
                    </a:cubicBezTo>
                    <a:cubicBezTo>
                      <a:pt x="11" y="49"/>
                      <a:pt x="0" y="39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3" y="0"/>
                      <a:pt x="41" y="5"/>
                      <a:pt x="45" y="12"/>
                    </a:cubicBezTo>
                    <a:lnTo>
                      <a:pt x="38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Freeform 60"/>
              <p:cNvSpPr>
                <a:spLocks noEditPoints="1"/>
              </p:cNvSpPr>
              <p:nvPr/>
            </p:nvSpPr>
            <p:spPr bwMode="auto">
              <a:xfrm>
                <a:off x="6302139" y="4006821"/>
                <a:ext cx="155575" cy="172861"/>
              </a:xfrm>
              <a:custGeom>
                <a:avLst/>
                <a:gdLst>
                  <a:gd name="T0" fmla="*/ 2147483647 w 49"/>
                  <a:gd name="T1" fmla="*/ 0 h 49"/>
                  <a:gd name="T2" fmla="*/ 2147483647 w 49"/>
                  <a:gd name="T3" fmla="*/ 2147483647 h 49"/>
                  <a:gd name="T4" fmla="*/ 2147483647 w 49"/>
                  <a:gd name="T5" fmla="*/ 2147483647 h 49"/>
                  <a:gd name="T6" fmla="*/ 0 w 49"/>
                  <a:gd name="T7" fmla="*/ 2147483647 h 49"/>
                  <a:gd name="T8" fmla="*/ 2147483647 w 49"/>
                  <a:gd name="T9" fmla="*/ 0 h 49"/>
                  <a:gd name="T10" fmla="*/ 2147483647 w 49"/>
                  <a:gd name="T11" fmla="*/ 2147483647 h 49"/>
                  <a:gd name="T12" fmla="*/ 2147483647 w 49"/>
                  <a:gd name="T13" fmla="*/ 2147483647 h 49"/>
                  <a:gd name="T14" fmla="*/ 2147483647 w 49"/>
                  <a:gd name="T15" fmla="*/ 2147483647 h 49"/>
                  <a:gd name="T16" fmla="*/ 2147483647 w 49"/>
                  <a:gd name="T17" fmla="*/ 2147483647 h 49"/>
                  <a:gd name="T18" fmla="*/ 2147483647 w 49"/>
                  <a:gd name="T19" fmla="*/ 2147483647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24" y="0"/>
                    </a:moveTo>
                    <a:cubicBezTo>
                      <a:pt x="38" y="0"/>
                      <a:pt x="49" y="10"/>
                      <a:pt x="49" y="24"/>
                    </a:cubicBezTo>
                    <a:cubicBezTo>
                      <a:pt x="49" y="39"/>
                      <a:pt x="38" y="49"/>
                      <a:pt x="24" y="49"/>
                    </a:cubicBezTo>
                    <a:cubicBezTo>
                      <a:pt x="11" y="49"/>
                      <a:pt x="0" y="39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moveTo>
                      <a:pt x="24" y="41"/>
                    </a:moveTo>
                    <a:cubicBezTo>
                      <a:pt x="34" y="41"/>
                      <a:pt x="41" y="35"/>
                      <a:pt x="41" y="24"/>
                    </a:cubicBezTo>
                    <a:cubicBezTo>
                      <a:pt x="41" y="14"/>
                      <a:pt x="34" y="7"/>
                      <a:pt x="24" y="7"/>
                    </a:cubicBezTo>
                    <a:cubicBezTo>
                      <a:pt x="15" y="7"/>
                      <a:pt x="8" y="14"/>
                      <a:pt x="8" y="24"/>
                    </a:cubicBezTo>
                    <a:cubicBezTo>
                      <a:pt x="8" y="35"/>
                      <a:pt x="15" y="41"/>
                      <a:pt x="24" y="4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6489463" y="4010348"/>
                <a:ext cx="127000" cy="165806"/>
              </a:xfrm>
              <a:custGeom>
                <a:avLst/>
                <a:gdLst>
                  <a:gd name="T0" fmla="*/ 2147483647 w 40"/>
                  <a:gd name="T1" fmla="*/ 0 h 47"/>
                  <a:gd name="T2" fmla="*/ 2147483647 w 40"/>
                  <a:gd name="T3" fmla="*/ 2147483647 h 47"/>
                  <a:gd name="T4" fmla="*/ 2147483647 w 40"/>
                  <a:gd name="T5" fmla="*/ 2147483647 h 47"/>
                  <a:gd name="T6" fmla="*/ 2147483647 w 40"/>
                  <a:gd name="T7" fmla="*/ 2147483647 h 47"/>
                  <a:gd name="T8" fmla="*/ 2147483647 w 40"/>
                  <a:gd name="T9" fmla="*/ 2147483647 h 47"/>
                  <a:gd name="T10" fmla="*/ 2147483647 w 40"/>
                  <a:gd name="T11" fmla="*/ 2147483647 h 47"/>
                  <a:gd name="T12" fmla="*/ 2147483647 w 40"/>
                  <a:gd name="T13" fmla="*/ 2147483647 h 47"/>
                  <a:gd name="T14" fmla="*/ 2147483647 w 40"/>
                  <a:gd name="T15" fmla="*/ 2147483647 h 47"/>
                  <a:gd name="T16" fmla="*/ 0 w 40"/>
                  <a:gd name="T17" fmla="*/ 2147483647 h 47"/>
                  <a:gd name="T18" fmla="*/ 0 w 40"/>
                  <a:gd name="T19" fmla="*/ 0 h 47"/>
                  <a:gd name="T20" fmla="*/ 2147483647 w 40"/>
                  <a:gd name="T21" fmla="*/ 0 h 47"/>
                  <a:gd name="T22" fmla="*/ 2147483647 w 40"/>
                  <a:gd name="T23" fmla="*/ 2147483647 h 47"/>
                  <a:gd name="T24" fmla="*/ 2147483647 w 40"/>
                  <a:gd name="T25" fmla="*/ 2147483647 h 47"/>
                  <a:gd name="T26" fmla="*/ 2147483647 w 40"/>
                  <a:gd name="T27" fmla="*/ 2147483647 h 47"/>
                  <a:gd name="T28" fmla="*/ 2147483647 w 40"/>
                  <a:gd name="T29" fmla="*/ 2147483647 h 47"/>
                  <a:gd name="T30" fmla="*/ 2147483647 w 40"/>
                  <a:gd name="T31" fmla="*/ 0 h 47"/>
                  <a:gd name="T32" fmla="*/ 2147483647 w 40"/>
                  <a:gd name="T33" fmla="*/ 0 h 4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cubicBezTo>
                      <a:pt x="40" y="47"/>
                      <a:pt x="40" y="47"/>
                      <a:pt x="40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2" y="18"/>
                      <a:pt x="8" y="12"/>
                      <a:pt x="8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8" y="19"/>
                      <a:pt x="8" y="27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8" y="28"/>
                      <a:pt x="32" y="34"/>
                      <a:pt x="32" y="34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4"/>
                      <a:pt x="32" y="27"/>
                      <a:pt x="32" y="20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6645038" y="4010348"/>
                <a:ext cx="120650" cy="165806"/>
              </a:xfrm>
              <a:custGeom>
                <a:avLst/>
                <a:gdLst>
                  <a:gd name="T0" fmla="*/ 2147483647 w 76"/>
                  <a:gd name="T1" fmla="*/ 0 h 94"/>
                  <a:gd name="T2" fmla="*/ 2147483647 w 76"/>
                  <a:gd name="T3" fmla="*/ 2147483647 h 94"/>
                  <a:gd name="T4" fmla="*/ 2147483647 w 76"/>
                  <a:gd name="T5" fmla="*/ 2147483647 h 94"/>
                  <a:gd name="T6" fmla="*/ 2147483647 w 76"/>
                  <a:gd name="T7" fmla="*/ 2147483647 h 94"/>
                  <a:gd name="T8" fmla="*/ 2147483647 w 76"/>
                  <a:gd name="T9" fmla="*/ 2147483647 h 94"/>
                  <a:gd name="T10" fmla="*/ 2147483647 w 76"/>
                  <a:gd name="T11" fmla="*/ 2147483647 h 94"/>
                  <a:gd name="T12" fmla="*/ 0 w 76"/>
                  <a:gd name="T13" fmla="*/ 2147483647 h 94"/>
                  <a:gd name="T14" fmla="*/ 0 w 76"/>
                  <a:gd name="T15" fmla="*/ 0 h 94"/>
                  <a:gd name="T16" fmla="*/ 2147483647 w 76"/>
                  <a:gd name="T17" fmla="*/ 0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6" h="94">
                    <a:moveTo>
                      <a:pt x="76" y="0"/>
                    </a:moveTo>
                    <a:lnTo>
                      <a:pt x="76" y="14"/>
                    </a:lnTo>
                    <a:lnTo>
                      <a:pt x="46" y="14"/>
                    </a:lnTo>
                    <a:lnTo>
                      <a:pt x="46" y="94"/>
                    </a:lnTo>
                    <a:lnTo>
                      <a:pt x="32" y="94"/>
                    </a:lnTo>
                    <a:lnTo>
                      <a:pt x="32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Freeform 63"/>
              <p:cNvSpPr>
                <a:spLocks noEditPoints="1"/>
              </p:cNvSpPr>
              <p:nvPr/>
            </p:nvSpPr>
            <p:spPr bwMode="auto">
              <a:xfrm>
                <a:off x="6797439" y="4010348"/>
                <a:ext cx="111125" cy="165806"/>
              </a:xfrm>
              <a:custGeom>
                <a:avLst/>
                <a:gdLst>
                  <a:gd name="T0" fmla="*/ 2147483647 w 35"/>
                  <a:gd name="T1" fmla="*/ 2147483647 h 47"/>
                  <a:gd name="T2" fmla="*/ 2147483647 w 35"/>
                  <a:gd name="T3" fmla="*/ 2147483647 h 47"/>
                  <a:gd name="T4" fmla="*/ 2147483647 w 35"/>
                  <a:gd name="T5" fmla="*/ 2147483647 h 47"/>
                  <a:gd name="T6" fmla="*/ 2147483647 w 35"/>
                  <a:gd name="T7" fmla="*/ 2147483647 h 47"/>
                  <a:gd name="T8" fmla="*/ 2147483647 w 35"/>
                  <a:gd name="T9" fmla="*/ 2147483647 h 47"/>
                  <a:gd name="T10" fmla="*/ 0 w 35"/>
                  <a:gd name="T11" fmla="*/ 2147483647 h 47"/>
                  <a:gd name="T12" fmla="*/ 0 w 35"/>
                  <a:gd name="T13" fmla="*/ 0 h 47"/>
                  <a:gd name="T14" fmla="*/ 2147483647 w 35"/>
                  <a:gd name="T15" fmla="*/ 0 h 47"/>
                  <a:gd name="T16" fmla="*/ 2147483647 w 35"/>
                  <a:gd name="T17" fmla="*/ 2147483647 h 47"/>
                  <a:gd name="T18" fmla="*/ 2147483647 w 35"/>
                  <a:gd name="T19" fmla="*/ 2147483647 h 47"/>
                  <a:gd name="T20" fmla="*/ 2147483647 w 35"/>
                  <a:gd name="T21" fmla="*/ 2147483647 h 47"/>
                  <a:gd name="T22" fmla="*/ 2147483647 w 35"/>
                  <a:gd name="T23" fmla="*/ 2147483647 h 47"/>
                  <a:gd name="T24" fmla="*/ 2147483647 w 35"/>
                  <a:gd name="T25" fmla="*/ 2147483647 h 47"/>
                  <a:gd name="T26" fmla="*/ 2147483647 w 35"/>
                  <a:gd name="T27" fmla="*/ 2147483647 h 47"/>
                  <a:gd name="T28" fmla="*/ 2147483647 w 35"/>
                  <a:gd name="T29" fmla="*/ 2147483647 h 47"/>
                  <a:gd name="T30" fmla="*/ 2147483647 w 35"/>
                  <a:gd name="T31" fmla="*/ 2147483647 h 47"/>
                  <a:gd name="T32" fmla="*/ 2147483647 w 35"/>
                  <a:gd name="T33" fmla="*/ 2147483647 h 47"/>
                  <a:gd name="T34" fmla="*/ 2147483647 w 35"/>
                  <a:gd name="T35" fmla="*/ 2147483647 h 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5" h="47">
                    <a:moveTo>
                      <a:pt x="26" y="47"/>
                    </a:moveTo>
                    <a:cubicBezTo>
                      <a:pt x="17" y="30"/>
                      <a:pt x="17" y="30"/>
                      <a:pt x="17" y="30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26" y="0"/>
                      <a:pt x="33" y="6"/>
                      <a:pt x="33" y="15"/>
                    </a:cubicBezTo>
                    <a:cubicBezTo>
                      <a:pt x="33" y="22"/>
                      <a:pt x="30" y="26"/>
                      <a:pt x="24" y="29"/>
                    </a:cubicBezTo>
                    <a:cubicBezTo>
                      <a:pt x="35" y="47"/>
                      <a:pt x="35" y="47"/>
                      <a:pt x="35" y="47"/>
                    </a:cubicBezTo>
                    <a:lnTo>
                      <a:pt x="26" y="47"/>
                    </a:lnTo>
                    <a:close/>
                    <a:moveTo>
                      <a:pt x="16" y="24"/>
                    </a:moveTo>
                    <a:cubicBezTo>
                      <a:pt x="22" y="24"/>
                      <a:pt x="25" y="20"/>
                      <a:pt x="25" y="15"/>
                    </a:cubicBezTo>
                    <a:cubicBezTo>
                      <a:pt x="25" y="10"/>
                      <a:pt x="22" y="7"/>
                      <a:pt x="16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24"/>
                      <a:pt x="7" y="24"/>
                      <a:pt x="7" y="24"/>
                    </a:cubicBezTo>
                    <a:lnTo>
                      <a:pt x="16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Freeform 64"/>
              <p:cNvSpPr>
                <a:spLocks noEditPoints="1"/>
              </p:cNvSpPr>
              <p:nvPr/>
            </p:nvSpPr>
            <p:spPr bwMode="auto">
              <a:xfrm>
                <a:off x="6927613" y="4010348"/>
                <a:ext cx="146050" cy="165806"/>
              </a:xfrm>
              <a:custGeom>
                <a:avLst/>
                <a:gdLst>
                  <a:gd name="T0" fmla="*/ 2147483647 w 46"/>
                  <a:gd name="T1" fmla="*/ 2147483647 h 47"/>
                  <a:gd name="T2" fmla="*/ 2147483647 w 46"/>
                  <a:gd name="T3" fmla="*/ 2147483647 h 47"/>
                  <a:gd name="T4" fmla="*/ 2147483647 w 46"/>
                  <a:gd name="T5" fmla="*/ 2147483647 h 47"/>
                  <a:gd name="T6" fmla="*/ 0 w 46"/>
                  <a:gd name="T7" fmla="*/ 2147483647 h 47"/>
                  <a:gd name="T8" fmla="*/ 2147483647 w 46"/>
                  <a:gd name="T9" fmla="*/ 0 h 47"/>
                  <a:gd name="T10" fmla="*/ 2147483647 w 46"/>
                  <a:gd name="T11" fmla="*/ 0 h 47"/>
                  <a:gd name="T12" fmla="*/ 2147483647 w 46"/>
                  <a:gd name="T13" fmla="*/ 2147483647 h 47"/>
                  <a:gd name="T14" fmla="*/ 2147483647 w 46"/>
                  <a:gd name="T15" fmla="*/ 2147483647 h 47"/>
                  <a:gd name="T16" fmla="*/ 2147483647 w 46"/>
                  <a:gd name="T17" fmla="*/ 2147483647 h 47"/>
                  <a:gd name="T18" fmla="*/ 2147483647 w 46"/>
                  <a:gd name="T19" fmla="*/ 2147483647 h 47"/>
                  <a:gd name="T20" fmla="*/ 2147483647 w 46"/>
                  <a:gd name="T21" fmla="*/ 2147483647 h 47"/>
                  <a:gd name="T22" fmla="*/ 2147483647 w 46"/>
                  <a:gd name="T23" fmla="*/ 2147483647 h 47"/>
                  <a:gd name="T24" fmla="*/ 2147483647 w 46"/>
                  <a:gd name="T25" fmla="*/ 2147483647 h 47"/>
                  <a:gd name="T26" fmla="*/ 2147483647 w 46"/>
                  <a:gd name="T27" fmla="*/ 2147483647 h 47"/>
                  <a:gd name="T28" fmla="*/ 2147483647 w 46"/>
                  <a:gd name="T29" fmla="*/ 2147483647 h 47"/>
                  <a:gd name="T30" fmla="*/ 2147483647 w 46"/>
                  <a:gd name="T31" fmla="*/ 2147483647 h 4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" h="47">
                    <a:moveTo>
                      <a:pt x="34" y="36"/>
                    </a:moveTo>
                    <a:cubicBezTo>
                      <a:pt x="12" y="36"/>
                      <a:pt x="12" y="36"/>
                      <a:pt x="12" y="36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38" y="47"/>
                      <a:pt x="38" y="47"/>
                      <a:pt x="38" y="47"/>
                    </a:cubicBezTo>
                    <a:lnTo>
                      <a:pt x="34" y="36"/>
                    </a:lnTo>
                    <a:close/>
                    <a:moveTo>
                      <a:pt x="31" y="30"/>
                    </a:moveTo>
                    <a:cubicBezTo>
                      <a:pt x="25" y="15"/>
                      <a:pt x="25" y="15"/>
                      <a:pt x="25" y="15"/>
                    </a:cubicBezTo>
                    <a:cubicBezTo>
                      <a:pt x="24" y="13"/>
                      <a:pt x="23" y="9"/>
                      <a:pt x="23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9"/>
                      <a:pt x="22" y="13"/>
                      <a:pt x="21" y="15"/>
                    </a:cubicBezTo>
                    <a:cubicBezTo>
                      <a:pt x="15" y="30"/>
                      <a:pt x="15" y="30"/>
                      <a:pt x="15" y="30"/>
                    </a:cubicBezTo>
                    <a:lnTo>
                      <a:pt x="31" y="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7086363" y="4006821"/>
                <a:ext cx="146050" cy="172861"/>
              </a:xfrm>
              <a:custGeom>
                <a:avLst/>
                <a:gdLst>
                  <a:gd name="T0" fmla="*/ 2147483647 w 46"/>
                  <a:gd name="T1" fmla="*/ 2147483647 h 49"/>
                  <a:gd name="T2" fmla="*/ 2147483647 w 46"/>
                  <a:gd name="T3" fmla="*/ 2147483647 h 49"/>
                  <a:gd name="T4" fmla="*/ 2147483647 w 46"/>
                  <a:gd name="T5" fmla="*/ 2147483647 h 49"/>
                  <a:gd name="T6" fmla="*/ 2147483647 w 46"/>
                  <a:gd name="T7" fmla="*/ 2147483647 h 49"/>
                  <a:gd name="T8" fmla="*/ 2147483647 w 46"/>
                  <a:gd name="T9" fmla="*/ 2147483647 h 49"/>
                  <a:gd name="T10" fmla="*/ 2147483647 w 46"/>
                  <a:gd name="T11" fmla="*/ 2147483647 h 49"/>
                  <a:gd name="T12" fmla="*/ 2147483647 w 46"/>
                  <a:gd name="T13" fmla="*/ 2147483647 h 49"/>
                  <a:gd name="T14" fmla="*/ 0 w 46"/>
                  <a:gd name="T15" fmla="*/ 2147483647 h 49"/>
                  <a:gd name="T16" fmla="*/ 2147483647 w 46"/>
                  <a:gd name="T17" fmla="*/ 0 h 49"/>
                  <a:gd name="T18" fmla="*/ 2147483647 w 46"/>
                  <a:gd name="T19" fmla="*/ 2147483647 h 49"/>
                  <a:gd name="T20" fmla="*/ 2147483647 w 46"/>
                  <a:gd name="T21" fmla="*/ 2147483647 h 4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6" h="49">
                    <a:moveTo>
                      <a:pt x="37" y="14"/>
                    </a:moveTo>
                    <a:cubicBezTo>
                      <a:pt x="35" y="10"/>
                      <a:pt x="29" y="7"/>
                      <a:pt x="24" y="7"/>
                    </a:cubicBezTo>
                    <a:cubicBezTo>
                      <a:pt x="14" y="7"/>
                      <a:pt x="7" y="14"/>
                      <a:pt x="7" y="24"/>
                    </a:cubicBezTo>
                    <a:cubicBezTo>
                      <a:pt x="7" y="35"/>
                      <a:pt x="14" y="41"/>
                      <a:pt x="24" y="41"/>
                    </a:cubicBezTo>
                    <a:cubicBezTo>
                      <a:pt x="30" y="41"/>
                      <a:pt x="36" y="38"/>
                      <a:pt x="38" y="33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2" y="43"/>
                      <a:pt x="33" y="49"/>
                      <a:pt x="24" y="49"/>
                    </a:cubicBezTo>
                    <a:cubicBezTo>
                      <a:pt x="10" y="49"/>
                      <a:pt x="0" y="39"/>
                      <a:pt x="0" y="24"/>
                    </a:cubicBezTo>
                    <a:cubicBezTo>
                      <a:pt x="0" y="10"/>
                      <a:pt x="10" y="0"/>
                      <a:pt x="24" y="0"/>
                    </a:cubicBezTo>
                    <a:cubicBezTo>
                      <a:pt x="33" y="0"/>
                      <a:pt x="41" y="5"/>
                      <a:pt x="45" y="12"/>
                    </a:cubicBezTo>
                    <a:lnTo>
                      <a:pt x="37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7248288" y="4010348"/>
                <a:ext cx="120650" cy="165806"/>
              </a:xfrm>
              <a:custGeom>
                <a:avLst/>
                <a:gdLst>
                  <a:gd name="T0" fmla="*/ 2147483647 w 76"/>
                  <a:gd name="T1" fmla="*/ 0 h 94"/>
                  <a:gd name="T2" fmla="*/ 2147483647 w 76"/>
                  <a:gd name="T3" fmla="*/ 2147483647 h 94"/>
                  <a:gd name="T4" fmla="*/ 2147483647 w 76"/>
                  <a:gd name="T5" fmla="*/ 2147483647 h 94"/>
                  <a:gd name="T6" fmla="*/ 2147483647 w 76"/>
                  <a:gd name="T7" fmla="*/ 2147483647 h 94"/>
                  <a:gd name="T8" fmla="*/ 2147483647 w 76"/>
                  <a:gd name="T9" fmla="*/ 2147483647 h 94"/>
                  <a:gd name="T10" fmla="*/ 2147483647 w 76"/>
                  <a:gd name="T11" fmla="*/ 2147483647 h 94"/>
                  <a:gd name="T12" fmla="*/ 0 w 76"/>
                  <a:gd name="T13" fmla="*/ 2147483647 h 94"/>
                  <a:gd name="T14" fmla="*/ 0 w 76"/>
                  <a:gd name="T15" fmla="*/ 0 h 94"/>
                  <a:gd name="T16" fmla="*/ 2147483647 w 76"/>
                  <a:gd name="T17" fmla="*/ 0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6" h="94">
                    <a:moveTo>
                      <a:pt x="76" y="0"/>
                    </a:moveTo>
                    <a:lnTo>
                      <a:pt x="76" y="14"/>
                    </a:lnTo>
                    <a:lnTo>
                      <a:pt x="46" y="14"/>
                    </a:lnTo>
                    <a:lnTo>
                      <a:pt x="46" y="94"/>
                    </a:lnTo>
                    <a:lnTo>
                      <a:pt x="30" y="94"/>
                    </a:lnTo>
                    <a:lnTo>
                      <a:pt x="30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5997339" y="3288916"/>
                <a:ext cx="60325" cy="98778"/>
              </a:xfrm>
              <a:custGeom>
                <a:avLst/>
                <a:gdLst>
                  <a:gd name="T0" fmla="*/ 2147483647 w 19"/>
                  <a:gd name="T1" fmla="*/ 2147483647 h 28"/>
                  <a:gd name="T2" fmla="*/ 2147483647 w 19"/>
                  <a:gd name="T3" fmla="*/ 2147483647 h 28"/>
                  <a:gd name="T4" fmla="*/ 2147483647 w 19"/>
                  <a:gd name="T5" fmla="*/ 2147483647 h 28"/>
                  <a:gd name="T6" fmla="*/ 2147483647 w 19"/>
                  <a:gd name="T7" fmla="*/ 2147483647 h 28"/>
                  <a:gd name="T8" fmla="*/ 2147483647 w 19"/>
                  <a:gd name="T9" fmla="*/ 2147483647 h 28"/>
                  <a:gd name="T10" fmla="*/ 2147483647 w 19"/>
                  <a:gd name="T11" fmla="*/ 2147483647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8">
                    <a:moveTo>
                      <a:pt x="17" y="13"/>
                    </a:moveTo>
                    <a:cubicBezTo>
                      <a:pt x="17" y="13"/>
                      <a:pt x="12" y="0"/>
                      <a:pt x="5" y="9"/>
                    </a:cubicBezTo>
                    <a:cubicBezTo>
                      <a:pt x="5" y="9"/>
                      <a:pt x="0" y="13"/>
                      <a:pt x="8" y="25"/>
                    </a:cubicBezTo>
                    <a:cubicBezTo>
                      <a:pt x="8" y="25"/>
                      <a:pt x="10" y="28"/>
                      <a:pt x="13" y="26"/>
                    </a:cubicBezTo>
                    <a:cubicBezTo>
                      <a:pt x="13" y="26"/>
                      <a:pt x="16" y="26"/>
                      <a:pt x="14" y="21"/>
                    </a:cubicBezTo>
                    <a:cubicBezTo>
                      <a:pt x="14" y="21"/>
                      <a:pt x="19" y="21"/>
                      <a:pt x="17" y="1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7915039" y="3271278"/>
                <a:ext cx="60325" cy="95250"/>
              </a:xfrm>
              <a:custGeom>
                <a:avLst/>
                <a:gdLst>
                  <a:gd name="T0" fmla="*/ 2147483647 w 19"/>
                  <a:gd name="T1" fmla="*/ 2147483647 h 27"/>
                  <a:gd name="T2" fmla="*/ 2147483647 w 19"/>
                  <a:gd name="T3" fmla="*/ 2147483647 h 27"/>
                  <a:gd name="T4" fmla="*/ 2147483647 w 19"/>
                  <a:gd name="T5" fmla="*/ 2147483647 h 27"/>
                  <a:gd name="T6" fmla="*/ 2147483647 w 19"/>
                  <a:gd name="T7" fmla="*/ 2147483647 h 27"/>
                  <a:gd name="T8" fmla="*/ 2147483647 w 19"/>
                  <a:gd name="T9" fmla="*/ 2147483647 h 27"/>
                  <a:gd name="T10" fmla="*/ 2147483647 w 19"/>
                  <a:gd name="T11" fmla="*/ 2147483647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27">
                    <a:moveTo>
                      <a:pt x="16" y="12"/>
                    </a:moveTo>
                    <a:cubicBezTo>
                      <a:pt x="16" y="12"/>
                      <a:pt x="12" y="0"/>
                      <a:pt x="4" y="8"/>
                    </a:cubicBezTo>
                    <a:cubicBezTo>
                      <a:pt x="4" y="8"/>
                      <a:pt x="0" y="12"/>
                      <a:pt x="8" y="24"/>
                    </a:cubicBezTo>
                    <a:cubicBezTo>
                      <a:pt x="8" y="24"/>
                      <a:pt x="10" y="27"/>
                      <a:pt x="12" y="26"/>
                    </a:cubicBezTo>
                    <a:cubicBezTo>
                      <a:pt x="12" y="26"/>
                      <a:pt x="16" y="25"/>
                      <a:pt x="14" y="21"/>
                    </a:cubicBezTo>
                    <a:cubicBezTo>
                      <a:pt x="14" y="21"/>
                      <a:pt x="19" y="20"/>
                      <a:pt x="16" y="1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Freeform 69"/>
              <p:cNvSpPr>
                <a:spLocks noEditPoints="1"/>
              </p:cNvSpPr>
              <p:nvPr/>
            </p:nvSpPr>
            <p:spPr bwMode="auto">
              <a:xfrm>
                <a:off x="3670064" y="3253640"/>
                <a:ext cx="1362075" cy="723194"/>
              </a:xfrm>
              <a:custGeom>
                <a:avLst/>
                <a:gdLst>
                  <a:gd name="T0" fmla="*/ 2147483647 w 429"/>
                  <a:gd name="T1" fmla="*/ 2147483647 h 205"/>
                  <a:gd name="T2" fmla="*/ 2147483647 w 429"/>
                  <a:gd name="T3" fmla="*/ 2147483647 h 205"/>
                  <a:gd name="T4" fmla="*/ 2147483647 w 429"/>
                  <a:gd name="T5" fmla="*/ 2147483647 h 205"/>
                  <a:gd name="T6" fmla="*/ 2147483647 w 429"/>
                  <a:gd name="T7" fmla="*/ 2147483647 h 205"/>
                  <a:gd name="T8" fmla="*/ 2147483647 w 429"/>
                  <a:gd name="T9" fmla="*/ 2147483647 h 205"/>
                  <a:gd name="T10" fmla="*/ 2147483647 w 429"/>
                  <a:gd name="T11" fmla="*/ 2147483647 h 205"/>
                  <a:gd name="T12" fmla="*/ 2147483647 w 429"/>
                  <a:gd name="T13" fmla="*/ 2147483647 h 205"/>
                  <a:gd name="T14" fmla="*/ 2147483647 w 429"/>
                  <a:gd name="T15" fmla="*/ 2147483647 h 205"/>
                  <a:gd name="T16" fmla="*/ 2147483647 w 429"/>
                  <a:gd name="T17" fmla="*/ 2147483647 h 205"/>
                  <a:gd name="T18" fmla="*/ 2147483647 w 429"/>
                  <a:gd name="T19" fmla="*/ 2147483647 h 205"/>
                  <a:gd name="T20" fmla="*/ 2147483647 w 429"/>
                  <a:gd name="T21" fmla="*/ 2147483647 h 205"/>
                  <a:gd name="T22" fmla="*/ 2147483647 w 429"/>
                  <a:gd name="T23" fmla="*/ 2147483647 h 205"/>
                  <a:gd name="T24" fmla="*/ 2147483647 w 429"/>
                  <a:gd name="T25" fmla="*/ 2147483647 h 205"/>
                  <a:gd name="T26" fmla="*/ 2147483647 w 429"/>
                  <a:gd name="T27" fmla="*/ 2147483647 h 205"/>
                  <a:gd name="T28" fmla="*/ 2147483647 w 429"/>
                  <a:gd name="T29" fmla="*/ 2147483647 h 205"/>
                  <a:gd name="T30" fmla="*/ 2147483647 w 429"/>
                  <a:gd name="T31" fmla="*/ 2147483647 h 205"/>
                  <a:gd name="T32" fmla="*/ 2147483647 w 429"/>
                  <a:gd name="T33" fmla="*/ 2147483647 h 205"/>
                  <a:gd name="T34" fmla="*/ 2147483647 w 429"/>
                  <a:gd name="T35" fmla="*/ 2147483647 h 205"/>
                  <a:gd name="T36" fmla="*/ 2147483647 w 429"/>
                  <a:gd name="T37" fmla="*/ 2147483647 h 205"/>
                  <a:gd name="T38" fmla="*/ 2147483647 w 429"/>
                  <a:gd name="T39" fmla="*/ 2147483647 h 205"/>
                  <a:gd name="T40" fmla="*/ 2147483647 w 429"/>
                  <a:gd name="T41" fmla="*/ 2147483647 h 205"/>
                  <a:gd name="T42" fmla="*/ 2147483647 w 429"/>
                  <a:gd name="T43" fmla="*/ 2147483647 h 205"/>
                  <a:gd name="T44" fmla="*/ 2147483647 w 429"/>
                  <a:gd name="T45" fmla="*/ 2147483647 h 205"/>
                  <a:gd name="T46" fmla="*/ 2147483647 w 429"/>
                  <a:gd name="T47" fmla="*/ 2147483647 h 205"/>
                  <a:gd name="T48" fmla="*/ 2147483647 w 429"/>
                  <a:gd name="T49" fmla="*/ 2147483647 h 205"/>
                  <a:gd name="T50" fmla="*/ 2147483647 w 429"/>
                  <a:gd name="T51" fmla="*/ 2147483647 h 205"/>
                  <a:gd name="T52" fmla="*/ 2147483647 w 429"/>
                  <a:gd name="T53" fmla="*/ 2147483647 h 205"/>
                  <a:gd name="T54" fmla="*/ 2147483647 w 429"/>
                  <a:gd name="T55" fmla="*/ 2147483647 h 205"/>
                  <a:gd name="T56" fmla="*/ 2147483647 w 429"/>
                  <a:gd name="T57" fmla="*/ 2147483647 h 205"/>
                  <a:gd name="T58" fmla="*/ 2147483647 w 429"/>
                  <a:gd name="T59" fmla="*/ 2147483647 h 205"/>
                  <a:gd name="T60" fmla="*/ 2147483647 w 429"/>
                  <a:gd name="T61" fmla="*/ 2147483647 h 205"/>
                  <a:gd name="T62" fmla="*/ 2147483647 w 429"/>
                  <a:gd name="T63" fmla="*/ 2147483647 h 205"/>
                  <a:gd name="T64" fmla="*/ 2147483647 w 429"/>
                  <a:gd name="T65" fmla="*/ 2147483647 h 205"/>
                  <a:gd name="T66" fmla="*/ 2147483647 w 429"/>
                  <a:gd name="T67" fmla="*/ 2147483647 h 205"/>
                  <a:gd name="T68" fmla="*/ 2147483647 w 429"/>
                  <a:gd name="T69" fmla="*/ 2147483647 h 205"/>
                  <a:gd name="T70" fmla="*/ 2147483647 w 429"/>
                  <a:gd name="T71" fmla="*/ 2147483647 h 205"/>
                  <a:gd name="T72" fmla="*/ 2147483647 w 429"/>
                  <a:gd name="T73" fmla="*/ 2147483647 h 205"/>
                  <a:gd name="T74" fmla="*/ 2147483647 w 429"/>
                  <a:gd name="T75" fmla="*/ 2147483647 h 205"/>
                  <a:gd name="T76" fmla="*/ 2147483647 w 429"/>
                  <a:gd name="T77" fmla="*/ 2147483647 h 205"/>
                  <a:gd name="T78" fmla="*/ 2147483647 w 429"/>
                  <a:gd name="T79" fmla="*/ 2147483647 h 205"/>
                  <a:gd name="T80" fmla="*/ 2147483647 w 429"/>
                  <a:gd name="T81" fmla="*/ 2147483647 h 205"/>
                  <a:gd name="T82" fmla="*/ 2147483647 w 429"/>
                  <a:gd name="T83" fmla="*/ 2147483647 h 205"/>
                  <a:gd name="T84" fmla="*/ 2147483647 w 429"/>
                  <a:gd name="T85" fmla="*/ 2147483647 h 205"/>
                  <a:gd name="T86" fmla="*/ 2147483647 w 429"/>
                  <a:gd name="T87" fmla="*/ 2147483647 h 205"/>
                  <a:gd name="T88" fmla="*/ 2147483647 w 429"/>
                  <a:gd name="T89" fmla="*/ 2147483647 h 205"/>
                  <a:gd name="T90" fmla="*/ 2147483647 w 429"/>
                  <a:gd name="T91" fmla="*/ 2147483647 h 2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29" h="205">
                    <a:moveTo>
                      <a:pt x="406" y="144"/>
                    </a:moveTo>
                    <a:cubicBezTo>
                      <a:pt x="379" y="136"/>
                      <a:pt x="375" y="112"/>
                      <a:pt x="377" y="95"/>
                    </a:cubicBezTo>
                    <a:cubicBezTo>
                      <a:pt x="424" y="52"/>
                      <a:pt x="429" y="20"/>
                      <a:pt x="429" y="20"/>
                    </a:cubicBezTo>
                    <a:cubicBezTo>
                      <a:pt x="426" y="0"/>
                      <a:pt x="397" y="31"/>
                      <a:pt x="397" y="31"/>
                    </a:cubicBezTo>
                    <a:cubicBezTo>
                      <a:pt x="377" y="56"/>
                      <a:pt x="370" y="77"/>
                      <a:pt x="368" y="93"/>
                    </a:cubicBezTo>
                    <a:cubicBezTo>
                      <a:pt x="318" y="141"/>
                      <a:pt x="275" y="150"/>
                      <a:pt x="275" y="150"/>
                    </a:cubicBezTo>
                    <a:cubicBezTo>
                      <a:pt x="253" y="157"/>
                      <a:pt x="237" y="147"/>
                      <a:pt x="235" y="134"/>
                    </a:cubicBezTo>
                    <a:cubicBezTo>
                      <a:pt x="247" y="128"/>
                      <a:pt x="253" y="122"/>
                      <a:pt x="253" y="122"/>
                    </a:cubicBezTo>
                    <a:cubicBezTo>
                      <a:pt x="267" y="112"/>
                      <a:pt x="259" y="105"/>
                      <a:pt x="259" y="105"/>
                    </a:cubicBezTo>
                    <a:cubicBezTo>
                      <a:pt x="240" y="87"/>
                      <a:pt x="228" y="123"/>
                      <a:pt x="228" y="123"/>
                    </a:cubicBezTo>
                    <a:cubicBezTo>
                      <a:pt x="228" y="126"/>
                      <a:pt x="228" y="128"/>
                      <a:pt x="228" y="130"/>
                    </a:cubicBezTo>
                    <a:cubicBezTo>
                      <a:pt x="204" y="142"/>
                      <a:pt x="183" y="143"/>
                      <a:pt x="183" y="143"/>
                    </a:cubicBezTo>
                    <a:cubicBezTo>
                      <a:pt x="113" y="141"/>
                      <a:pt x="79" y="102"/>
                      <a:pt x="79" y="102"/>
                    </a:cubicBezTo>
                    <a:cubicBezTo>
                      <a:pt x="117" y="82"/>
                      <a:pt x="132" y="47"/>
                      <a:pt x="132" y="47"/>
                    </a:cubicBezTo>
                    <a:cubicBezTo>
                      <a:pt x="138" y="28"/>
                      <a:pt x="121" y="29"/>
                      <a:pt x="121" y="29"/>
                    </a:cubicBezTo>
                    <a:cubicBezTo>
                      <a:pt x="59" y="36"/>
                      <a:pt x="17" y="143"/>
                      <a:pt x="17" y="143"/>
                    </a:cubicBezTo>
                    <a:cubicBezTo>
                      <a:pt x="0" y="191"/>
                      <a:pt x="23" y="198"/>
                      <a:pt x="23" y="198"/>
                    </a:cubicBezTo>
                    <a:cubicBezTo>
                      <a:pt x="42" y="205"/>
                      <a:pt x="64" y="117"/>
                      <a:pt x="64" y="117"/>
                    </a:cubicBezTo>
                    <a:cubicBezTo>
                      <a:pt x="65" y="105"/>
                      <a:pt x="69" y="108"/>
                      <a:pt x="69" y="108"/>
                    </a:cubicBezTo>
                    <a:cubicBezTo>
                      <a:pt x="71" y="113"/>
                      <a:pt x="99" y="130"/>
                      <a:pt x="99" y="130"/>
                    </a:cubicBezTo>
                    <a:cubicBezTo>
                      <a:pt x="157" y="160"/>
                      <a:pt x="202" y="150"/>
                      <a:pt x="227" y="138"/>
                    </a:cubicBezTo>
                    <a:cubicBezTo>
                      <a:pt x="231" y="184"/>
                      <a:pt x="307" y="145"/>
                      <a:pt x="307" y="145"/>
                    </a:cubicBezTo>
                    <a:cubicBezTo>
                      <a:pt x="332" y="130"/>
                      <a:pt x="352" y="116"/>
                      <a:pt x="368" y="102"/>
                    </a:cubicBezTo>
                    <a:cubicBezTo>
                      <a:pt x="369" y="123"/>
                      <a:pt x="379" y="136"/>
                      <a:pt x="379" y="136"/>
                    </a:cubicBezTo>
                    <a:cubicBezTo>
                      <a:pt x="396" y="154"/>
                      <a:pt x="404" y="150"/>
                      <a:pt x="404" y="150"/>
                    </a:cubicBezTo>
                    <a:cubicBezTo>
                      <a:pt x="410" y="146"/>
                      <a:pt x="406" y="144"/>
                      <a:pt x="406" y="144"/>
                    </a:cubicBezTo>
                    <a:moveTo>
                      <a:pt x="380" y="76"/>
                    </a:moveTo>
                    <a:cubicBezTo>
                      <a:pt x="402" y="28"/>
                      <a:pt x="417" y="23"/>
                      <a:pt x="417" y="23"/>
                    </a:cubicBezTo>
                    <a:cubicBezTo>
                      <a:pt x="428" y="19"/>
                      <a:pt x="410" y="47"/>
                      <a:pt x="410" y="47"/>
                    </a:cubicBezTo>
                    <a:cubicBezTo>
                      <a:pt x="399" y="61"/>
                      <a:pt x="389" y="73"/>
                      <a:pt x="378" y="84"/>
                    </a:cubicBezTo>
                    <a:cubicBezTo>
                      <a:pt x="379" y="79"/>
                      <a:pt x="380" y="76"/>
                      <a:pt x="380" y="76"/>
                    </a:cubicBezTo>
                    <a:moveTo>
                      <a:pt x="237" y="123"/>
                    </a:moveTo>
                    <a:cubicBezTo>
                      <a:pt x="246" y="106"/>
                      <a:pt x="253" y="111"/>
                      <a:pt x="253" y="111"/>
                    </a:cubicBezTo>
                    <a:cubicBezTo>
                      <a:pt x="248" y="116"/>
                      <a:pt x="242" y="121"/>
                      <a:pt x="236" y="125"/>
                    </a:cubicBezTo>
                    <a:cubicBezTo>
                      <a:pt x="237" y="124"/>
                      <a:pt x="237" y="123"/>
                      <a:pt x="237" y="123"/>
                    </a:cubicBezTo>
                    <a:moveTo>
                      <a:pt x="69" y="95"/>
                    </a:moveTo>
                    <a:cubicBezTo>
                      <a:pt x="69" y="95"/>
                      <a:pt x="72" y="79"/>
                      <a:pt x="60" y="88"/>
                    </a:cubicBezTo>
                    <a:cubicBezTo>
                      <a:pt x="60" y="88"/>
                      <a:pt x="54" y="91"/>
                      <a:pt x="58" y="97"/>
                    </a:cubicBezTo>
                    <a:cubicBezTo>
                      <a:pt x="58" y="97"/>
                      <a:pt x="48" y="97"/>
                      <a:pt x="57" y="112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57" y="112"/>
                      <a:pt x="45" y="156"/>
                      <a:pt x="31" y="181"/>
                    </a:cubicBezTo>
                    <a:cubicBezTo>
                      <a:pt x="31" y="181"/>
                      <a:pt x="25" y="194"/>
                      <a:pt x="22" y="187"/>
                    </a:cubicBezTo>
                    <a:cubicBezTo>
                      <a:pt x="22" y="187"/>
                      <a:pt x="17" y="177"/>
                      <a:pt x="25" y="149"/>
                    </a:cubicBezTo>
                    <a:cubicBezTo>
                      <a:pt x="25" y="149"/>
                      <a:pt x="51" y="59"/>
                      <a:pt x="110" y="40"/>
                    </a:cubicBezTo>
                    <a:cubicBezTo>
                      <a:pt x="110" y="40"/>
                      <a:pt x="133" y="31"/>
                      <a:pt x="122" y="49"/>
                    </a:cubicBezTo>
                    <a:cubicBezTo>
                      <a:pt x="122" y="49"/>
                      <a:pt x="95" y="93"/>
                      <a:pt x="69" y="9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Freeform 70"/>
              <p:cNvSpPr>
                <a:spLocks noEditPoints="1"/>
              </p:cNvSpPr>
              <p:nvPr/>
            </p:nvSpPr>
            <p:spPr bwMode="auto">
              <a:xfrm>
                <a:off x="4987689" y="3306556"/>
                <a:ext cx="1863725" cy="603250"/>
              </a:xfrm>
              <a:custGeom>
                <a:avLst/>
                <a:gdLst>
                  <a:gd name="T0" fmla="*/ 2147483647 w 587"/>
                  <a:gd name="T1" fmla="*/ 2147483647 h 171"/>
                  <a:gd name="T2" fmla="*/ 2147483647 w 587"/>
                  <a:gd name="T3" fmla="*/ 2147483647 h 171"/>
                  <a:gd name="T4" fmla="*/ 2147483647 w 587"/>
                  <a:gd name="T5" fmla="*/ 2147483647 h 171"/>
                  <a:gd name="T6" fmla="*/ 2147483647 w 587"/>
                  <a:gd name="T7" fmla="*/ 2147483647 h 171"/>
                  <a:gd name="T8" fmla="*/ 2147483647 w 587"/>
                  <a:gd name="T9" fmla="*/ 2147483647 h 171"/>
                  <a:gd name="T10" fmla="*/ 2147483647 w 587"/>
                  <a:gd name="T11" fmla="*/ 2147483647 h 171"/>
                  <a:gd name="T12" fmla="*/ 2147483647 w 587"/>
                  <a:gd name="T13" fmla="*/ 2147483647 h 171"/>
                  <a:gd name="T14" fmla="*/ 2147483647 w 587"/>
                  <a:gd name="T15" fmla="*/ 2147483647 h 171"/>
                  <a:gd name="T16" fmla="*/ 2147483647 w 587"/>
                  <a:gd name="T17" fmla="*/ 2147483647 h 171"/>
                  <a:gd name="T18" fmla="*/ 2147483647 w 587"/>
                  <a:gd name="T19" fmla="*/ 2147483647 h 171"/>
                  <a:gd name="T20" fmla="*/ 2147483647 w 587"/>
                  <a:gd name="T21" fmla="*/ 2147483647 h 171"/>
                  <a:gd name="T22" fmla="*/ 2147483647 w 587"/>
                  <a:gd name="T23" fmla="*/ 2147483647 h 171"/>
                  <a:gd name="T24" fmla="*/ 2147483647 w 587"/>
                  <a:gd name="T25" fmla="*/ 2147483647 h 171"/>
                  <a:gd name="T26" fmla="*/ 2147483647 w 587"/>
                  <a:gd name="T27" fmla="*/ 2147483647 h 171"/>
                  <a:gd name="T28" fmla="*/ 2147483647 w 587"/>
                  <a:gd name="T29" fmla="*/ 2147483647 h 171"/>
                  <a:gd name="T30" fmla="*/ 2147483647 w 587"/>
                  <a:gd name="T31" fmla="*/ 2147483647 h 171"/>
                  <a:gd name="T32" fmla="*/ 2147483647 w 587"/>
                  <a:gd name="T33" fmla="*/ 2147483647 h 171"/>
                  <a:gd name="T34" fmla="*/ 2147483647 w 587"/>
                  <a:gd name="T35" fmla="*/ 2147483647 h 171"/>
                  <a:gd name="T36" fmla="*/ 2147483647 w 587"/>
                  <a:gd name="T37" fmla="*/ 2147483647 h 171"/>
                  <a:gd name="T38" fmla="*/ 2147483647 w 587"/>
                  <a:gd name="T39" fmla="*/ 2147483647 h 171"/>
                  <a:gd name="T40" fmla="*/ 2147483647 w 587"/>
                  <a:gd name="T41" fmla="*/ 2147483647 h 171"/>
                  <a:gd name="T42" fmla="*/ 2147483647 w 587"/>
                  <a:gd name="T43" fmla="*/ 2147483647 h 171"/>
                  <a:gd name="T44" fmla="*/ 2147483647 w 587"/>
                  <a:gd name="T45" fmla="*/ 2147483647 h 171"/>
                  <a:gd name="T46" fmla="*/ 2147483647 w 587"/>
                  <a:gd name="T47" fmla="*/ 2147483647 h 171"/>
                  <a:gd name="T48" fmla="*/ 2147483647 w 587"/>
                  <a:gd name="T49" fmla="*/ 2147483647 h 171"/>
                  <a:gd name="T50" fmla="*/ 2147483647 w 587"/>
                  <a:gd name="T51" fmla="*/ 2147483647 h 171"/>
                  <a:gd name="T52" fmla="*/ 2147483647 w 587"/>
                  <a:gd name="T53" fmla="*/ 2147483647 h 171"/>
                  <a:gd name="T54" fmla="*/ 2147483647 w 587"/>
                  <a:gd name="T55" fmla="*/ 2147483647 h 171"/>
                  <a:gd name="T56" fmla="*/ 2147483647 w 587"/>
                  <a:gd name="T57" fmla="*/ 2147483647 h 171"/>
                  <a:gd name="T58" fmla="*/ 2147483647 w 587"/>
                  <a:gd name="T59" fmla="*/ 2147483647 h 171"/>
                  <a:gd name="T60" fmla="*/ 2147483647 w 587"/>
                  <a:gd name="T61" fmla="*/ 2147483647 h 171"/>
                  <a:gd name="T62" fmla="*/ 2147483647 w 587"/>
                  <a:gd name="T63" fmla="*/ 2147483647 h 171"/>
                  <a:gd name="T64" fmla="*/ 2147483647 w 587"/>
                  <a:gd name="T65" fmla="*/ 2147483647 h 171"/>
                  <a:gd name="T66" fmla="*/ 2147483647 w 587"/>
                  <a:gd name="T67" fmla="*/ 2147483647 h 171"/>
                  <a:gd name="T68" fmla="*/ 2147483647 w 587"/>
                  <a:gd name="T69" fmla="*/ 2147483647 h 171"/>
                  <a:gd name="T70" fmla="*/ 2147483647 w 587"/>
                  <a:gd name="T71" fmla="*/ 2147483647 h 171"/>
                  <a:gd name="T72" fmla="*/ 2147483647 w 587"/>
                  <a:gd name="T73" fmla="*/ 2147483647 h 171"/>
                  <a:gd name="T74" fmla="*/ 2147483647 w 587"/>
                  <a:gd name="T75" fmla="*/ 2147483647 h 171"/>
                  <a:gd name="T76" fmla="*/ 2147483647 w 587"/>
                  <a:gd name="T77" fmla="*/ 2147483647 h 171"/>
                  <a:gd name="T78" fmla="*/ 2147483647 w 587"/>
                  <a:gd name="T79" fmla="*/ 2147483647 h 171"/>
                  <a:gd name="T80" fmla="*/ 2147483647 w 587"/>
                  <a:gd name="T81" fmla="*/ 2147483647 h 171"/>
                  <a:gd name="T82" fmla="*/ 2147483647 w 587"/>
                  <a:gd name="T83" fmla="*/ 2147483647 h 171"/>
                  <a:gd name="T84" fmla="*/ 2147483647 w 587"/>
                  <a:gd name="T85" fmla="*/ 2147483647 h 171"/>
                  <a:gd name="T86" fmla="*/ 2147483647 w 587"/>
                  <a:gd name="T87" fmla="*/ 2147483647 h 171"/>
                  <a:gd name="T88" fmla="*/ 2147483647 w 587"/>
                  <a:gd name="T89" fmla="*/ 2147483647 h 171"/>
                  <a:gd name="T90" fmla="*/ 2147483647 w 587"/>
                  <a:gd name="T91" fmla="*/ 2147483647 h 171"/>
                  <a:gd name="T92" fmla="*/ 2147483647 w 587"/>
                  <a:gd name="T93" fmla="*/ 2147483647 h 171"/>
                  <a:gd name="T94" fmla="*/ 2147483647 w 587"/>
                  <a:gd name="T95" fmla="*/ 2147483647 h 171"/>
                  <a:gd name="T96" fmla="*/ 2147483647 w 587"/>
                  <a:gd name="T97" fmla="*/ 2147483647 h 171"/>
                  <a:gd name="T98" fmla="*/ 2147483647 w 587"/>
                  <a:gd name="T99" fmla="*/ 2147483647 h 171"/>
                  <a:gd name="T100" fmla="*/ 2147483647 w 587"/>
                  <a:gd name="T101" fmla="*/ 2147483647 h 171"/>
                  <a:gd name="T102" fmla="*/ 2147483647 w 587"/>
                  <a:gd name="T103" fmla="*/ 2147483647 h 171"/>
                  <a:gd name="T104" fmla="*/ 2147483647 w 587"/>
                  <a:gd name="T105" fmla="*/ 2147483647 h 171"/>
                  <a:gd name="T106" fmla="*/ 2147483647 w 587"/>
                  <a:gd name="T107" fmla="*/ 2147483647 h 171"/>
                  <a:gd name="T108" fmla="*/ 2147483647 w 587"/>
                  <a:gd name="T109" fmla="*/ 2147483647 h 171"/>
                  <a:gd name="T110" fmla="*/ 2147483647 w 587"/>
                  <a:gd name="T111" fmla="*/ 2147483647 h 17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87" h="171">
                    <a:moveTo>
                      <a:pt x="518" y="69"/>
                    </a:moveTo>
                    <a:cubicBezTo>
                      <a:pt x="518" y="69"/>
                      <a:pt x="516" y="71"/>
                      <a:pt x="511" y="62"/>
                    </a:cubicBezTo>
                    <a:cubicBezTo>
                      <a:pt x="511" y="62"/>
                      <a:pt x="500" y="42"/>
                      <a:pt x="432" y="47"/>
                    </a:cubicBezTo>
                    <a:cubicBezTo>
                      <a:pt x="432" y="47"/>
                      <a:pt x="418" y="47"/>
                      <a:pt x="407" y="45"/>
                    </a:cubicBezTo>
                    <a:cubicBezTo>
                      <a:pt x="407" y="45"/>
                      <a:pt x="396" y="43"/>
                      <a:pt x="395" y="52"/>
                    </a:cubicBezTo>
                    <a:cubicBezTo>
                      <a:pt x="395" y="52"/>
                      <a:pt x="394" y="57"/>
                      <a:pt x="407" y="57"/>
                    </a:cubicBezTo>
                    <a:cubicBezTo>
                      <a:pt x="407" y="57"/>
                      <a:pt x="440" y="52"/>
                      <a:pt x="441" y="71"/>
                    </a:cubicBezTo>
                    <a:cubicBezTo>
                      <a:pt x="441" y="71"/>
                      <a:pt x="441" y="87"/>
                      <a:pt x="407" y="89"/>
                    </a:cubicBezTo>
                    <a:cubicBezTo>
                      <a:pt x="407" y="89"/>
                      <a:pt x="385" y="90"/>
                      <a:pt x="380" y="79"/>
                    </a:cubicBezTo>
                    <a:cubicBezTo>
                      <a:pt x="380" y="79"/>
                      <a:pt x="379" y="77"/>
                      <a:pt x="381" y="69"/>
                    </a:cubicBezTo>
                    <a:cubicBezTo>
                      <a:pt x="381" y="69"/>
                      <a:pt x="383" y="63"/>
                      <a:pt x="377" y="63"/>
                    </a:cubicBezTo>
                    <a:cubicBezTo>
                      <a:pt x="377" y="63"/>
                      <a:pt x="373" y="60"/>
                      <a:pt x="370" y="67"/>
                    </a:cubicBezTo>
                    <a:cubicBezTo>
                      <a:pt x="370" y="67"/>
                      <a:pt x="330" y="99"/>
                      <a:pt x="297" y="89"/>
                    </a:cubicBezTo>
                    <a:cubicBezTo>
                      <a:pt x="297" y="89"/>
                      <a:pt x="281" y="84"/>
                      <a:pt x="289" y="61"/>
                    </a:cubicBezTo>
                    <a:cubicBezTo>
                      <a:pt x="289" y="61"/>
                      <a:pt x="298" y="46"/>
                      <a:pt x="290" y="46"/>
                    </a:cubicBezTo>
                    <a:cubicBezTo>
                      <a:pt x="290" y="46"/>
                      <a:pt x="286" y="45"/>
                      <a:pt x="285" y="53"/>
                    </a:cubicBezTo>
                    <a:cubicBezTo>
                      <a:pt x="285" y="53"/>
                      <a:pt x="243" y="106"/>
                      <a:pt x="201" y="107"/>
                    </a:cubicBezTo>
                    <a:cubicBezTo>
                      <a:pt x="201" y="107"/>
                      <a:pt x="177" y="110"/>
                      <a:pt x="199" y="66"/>
                    </a:cubicBezTo>
                    <a:cubicBezTo>
                      <a:pt x="199" y="66"/>
                      <a:pt x="212" y="43"/>
                      <a:pt x="232" y="31"/>
                    </a:cubicBezTo>
                    <a:cubicBezTo>
                      <a:pt x="232" y="31"/>
                      <a:pt x="278" y="7"/>
                      <a:pt x="279" y="6"/>
                    </a:cubicBezTo>
                    <a:cubicBezTo>
                      <a:pt x="280" y="5"/>
                      <a:pt x="283" y="4"/>
                      <a:pt x="281" y="2"/>
                    </a:cubicBezTo>
                    <a:cubicBezTo>
                      <a:pt x="281" y="2"/>
                      <a:pt x="281" y="2"/>
                      <a:pt x="281" y="2"/>
                    </a:cubicBezTo>
                    <a:cubicBezTo>
                      <a:pt x="281" y="2"/>
                      <a:pt x="277" y="0"/>
                      <a:pt x="272" y="2"/>
                    </a:cubicBezTo>
                    <a:cubicBezTo>
                      <a:pt x="233" y="21"/>
                      <a:pt x="233" y="21"/>
                      <a:pt x="233" y="21"/>
                    </a:cubicBezTo>
                    <a:cubicBezTo>
                      <a:pt x="233" y="21"/>
                      <a:pt x="238" y="4"/>
                      <a:pt x="227" y="9"/>
                    </a:cubicBezTo>
                    <a:cubicBezTo>
                      <a:pt x="227" y="9"/>
                      <a:pt x="212" y="22"/>
                      <a:pt x="195" y="55"/>
                    </a:cubicBezTo>
                    <a:cubicBezTo>
                      <a:pt x="195" y="55"/>
                      <a:pt x="131" y="120"/>
                      <a:pt x="100" y="116"/>
                    </a:cubicBezTo>
                    <a:cubicBezTo>
                      <a:pt x="100" y="116"/>
                      <a:pt x="80" y="117"/>
                      <a:pt x="88" y="83"/>
                    </a:cubicBezTo>
                    <a:cubicBezTo>
                      <a:pt x="88" y="83"/>
                      <a:pt x="89" y="80"/>
                      <a:pt x="83" y="79"/>
                    </a:cubicBezTo>
                    <a:cubicBezTo>
                      <a:pt x="83" y="79"/>
                      <a:pt x="79" y="77"/>
                      <a:pt x="73" y="86"/>
                    </a:cubicBezTo>
                    <a:cubicBezTo>
                      <a:pt x="73" y="86"/>
                      <a:pt x="69" y="94"/>
                      <a:pt x="58" y="101"/>
                    </a:cubicBezTo>
                    <a:cubicBezTo>
                      <a:pt x="58" y="101"/>
                      <a:pt x="77" y="79"/>
                      <a:pt x="62" y="65"/>
                    </a:cubicBezTo>
                    <a:cubicBezTo>
                      <a:pt x="62" y="65"/>
                      <a:pt x="44" y="49"/>
                      <a:pt x="17" y="87"/>
                    </a:cubicBezTo>
                    <a:cubicBezTo>
                      <a:pt x="17" y="87"/>
                      <a:pt x="0" y="113"/>
                      <a:pt x="14" y="123"/>
                    </a:cubicBezTo>
                    <a:cubicBezTo>
                      <a:pt x="14" y="123"/>
                      <a:pt x="29" y="136"/>
                      <a:pt x="79" y="91"/>
                    </a:cubicBezTo>
                    <a:cubicBezTo>
                      <a:pt x="81" y="90"/>
                      <a:pt x="81" y="90"/>
                      <a:pt x="81" y="90"/>
                    </a:cubicBezTo>
                    <a:cubicBezTo>
                      <a:pt x="81" y="90"/>
                      <a:pt x="66" y="139"/>
                      <a:pt x="119" y="122"/>
                    </a:cubicBezTo>
                    <a:cubicBezTo>
                      <a:pt x="119" y="122"/>
                      <a:pt x="152" y="109"/>
                      <a:pt x="184" y="77"/>
                    </a:cubicBezTo>
                    <a:cubicBezTo>
                      <a:pt x="184" y="77"/>
                      <a:pt x="157" y="171"/>
                      <a:pt x="277" y="72"/>
                    </a:cubicBezTo>
                    <a:cubicBezTo>
                      <a:pt x="277" y="72"/>
                      <a:pt x="270" y="111"/>
                      <a:pt x="332" y="97"/>
                    </a:cubicBezTo>
                    <a:cubicBezTo>
                      <a:pt x="332" y="97"/>
                      <a:pt x="355" y="90"/>
                      <a:pt x="371" y="78"/>
                    </a:cubicBezTo>
                    <a:cubicBezTo>
                      <a:pt x="371" y="78"/>
                      <a:pt x="372" y="101"/>
                      <a:pt x="412" y="99"/>
                    </a:cubicBezTo>
                    <a:cubicBezTo>
                      <a:pt x="412" y="99"/>
                      <a:pt x="435" y="99"/>
                      <a:pt x="446" y="80"/>
                    </a:cubicBezTo>
                    <a:cubicBezTo>
                      <a:pt x="446" y="80"/>
                      <a:pt x="454" y="64"/>
                      <a:pt x="437" y="56"/>
                    </a:cubicBezTo>
                    <a:cubicBezTo>
                      <a:pt x="437" y="56"/>
                      <a:pt x="515" y="54"/>
                      <a:pt x="506" y="77"/>
                    </a:cubicBezTo>
                    <a:cubicBezTo>
                      <a:pt x="506" y="77"/>
                      <a:pt x="490" y="100"/>
                      <a:pt x="502" y="98"/>
                    </a:cubicBezTo>
                    <a:cubicBezTo>
                      <a:pt x="502" y="98"/>
                      <a:pt x="508" y="98"/>
                      <a:pt x="519" y="77"/>
                    </a:cubicBezTo>
                    <a:cubicBezTo>
                      <a:pt x="519" y="77"/>
                      <a:pt x="545" y="46"/>
                      <a:pt x="564" y="59"/>
                    </a:cubicBezTo>
                    <a:cubicBezTo>
                      <a:pt x="564" y="59"/>
                      <a:pt x="572" y="67"/>
                      <a:pt x="560" y="84"/>
                    </a:cubicBezTo>
                    <a:cubicBezTo>
                      <a:pt x="560" y="84"/>
                      <a:pt x="547" y="103"/>
                      <a:pt x="556" y="98"/>
                    </a:cubicBezTo>
                    <a:cubicBezTo>
                      <a:pt x="556" y="98"/>
                      <a:pt x="587" y="67"/>
                      <a:pt x="573" y="51"/>
                    </a:cubicBezTo>
                    <a:cubicBezTo>
                      <a:pt x="573" y="51"/>
                      <a:pt x="558" y="32"/>
                      <a:pt x="518" y="69"/>
                    </a:cubicBezTo>
                    <a:moveTo>
                      <a:pt x="20" y="105"/>
                    </a:moveTo>
                    <a:cubicBezTo>
                      <a:pt x="20" y="105"/>
                      <a:pt x="18" y="88"/>
                      <a:pt x="45" y="73"/>
                    </a:cubicBezTo>
                    <a:cubicBezTo>
                      <a:pt x="45" y="73"/>
                      <a:pt x="77" y="60"/>
                      <a:pt x="49" y="105"/>
                    </a:cubicBezTo>
                    <a:cubicBezTo>
                      <a:pt x="49" y="105"/>
                      <a:pt x="22" y="125"/>
                      <a:pt x="20" y="1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 71"/>
              <p:cNvSpPr>
                <a:spLocks noEditPoints="1"/>
              </p:cNvSpPr>
              <p:nvPr/>
            </p:nvSpPr>
            <p:spPr bwMode="auto">
              <a:xfrm>
                <a:off x="6845064" y="3116056"/>
                <a:ext cx="1736725" cy="1176514"/>
              </a:xfrm>
              <a:custGeom>
                <a:avLst/>
                <a:gdLst>
                  <a:gd name="T0" fmla="*/ 2147483647 w 547"/>
                  <a:gd name="T1" fmla="*/ 2147483647 h 334"/>
                  <a:gd name="T2" fmla="*/ 2147483647 w 547"/>
                  <a:gd name="T3" fmla="*/ 2147483647 h 334"/>
                  <a:gd name="T4" fmla="*/ 2147483647 w 547"/>
                  <a:gd name="T5" fmla="*/ 2147483647 h 334"/>
                  <a:gd name="T6" fmla="*/ 2147483647 w 547"/>
                  <a:gd name="T7" fmla="*/ 2147483647 h 334"/>
                  <a:gd name="T8" fmla="*/ 2147483647 w 547"/>
                  <a:gd name="T9" fmla="*/ 2147483647 h 334"/>
                  <a:gd name="T10" fmla="*/ 2147483647 w 547"/>
                  <a:gd name="T11" fmla="*/ 2147483647 h 334"/>
                  <a:gd name="T12" fmla="*/ 2147483647 w 547"/>
                  <a:gd name="T13" fmla="*/ 2147483647 h 334"/>
                  <a:gd name="T14" fmla="*/ 2147483647 w 547"/>
                  <a:gd name="T15" fmla="*/ 2147483647 h 334"/>
                  <a:gd name="T16" fmla="*/ 2147483647 w 547"/>
                  <a:gd name="T17" fmla="*/ 2147483647 h 334"/>
                  <a:gd name="T18" fmla="*/ 2147483647 w 547"/>
                  <a:gd name="T19" fmla="*/ 2147483647 h 334"/>
                  <a:gd name="T20" fmla="*/ 2147483647 w 547"/>
                  <a:gd name="T21" fmla="*/ 2147483647 h 334"/>
                  <a:gd name="T22" fmla="*/ 2147483647 w 547"/>
                  <a:gd name="T23" fmla="*/ 2147483647 h 334"/>
                  <a:gd name="T24" fmla="*/ 2147483647 w 547"/>
                  <a:gd name="T25" fmla="*/ 2147483647 h 334"/>
                  <a:gd name="T26" fmla="*/ 2147483647 w 547"/>
                  <a:gd name="T27" fmla="*/ 2147483647 h 334"/>
                  <a:gd name="T28" fmla="*/ 2147483647 w 547"/>
                  <a:gd name="T29" fmla="*/ 2147483647 h 334"/>
                  <a:gd name="T30" fmla="*/ 2147483647 w 547"/>
                  <a:gd name="T31" fmla="*/ 2147483647 h 334"/>
                  <a:gd name="T32" fmla="*/ 2147483647 w 547"/>
                  <a:gd name="T33" fmla="*/ 2147483647 h 334"/>
                  <a:gd name="T34" fmla="*/ 2147483647 w 547"/>
                  <a:gd name="T35" fmla="*/ 2147483647 h 334"/>
                  <a:gd name="T36" fmla="*/ 2147483647 w 547"/>
                  <a:gd name="T37" fmla="*/ 2147483647 h 334"/>
                  <a:gd name="T38" fmla="*/ 2147483647 w 547"/>
                  <a:gd name="T39" fmla="*/ 2147483647 h 334"/>
                  <a:gd name="T40" fmla="*/ 2147483647 w 547"/>
                  <a:gd name="T41" fmla="*/ 2147483647 h 334"/>
                  <a:gd name="T42" fmla="*/ 2147483647 w 547"/>
                  <a:gd name="T43" fmla="*/ 2147483647 h 334"/>
                  <a:gd name="T44" fmla="*/ 2147483647 w 547"/>
                  <a:gd name="T45" fmla="*/ 2147483647 h 334"/>
                  <a:gd name="T46" fmla="*/ 2147483647 w 547"/>
                  <a:gd name="T47" fmla="*/ 2147483647 h 334"/>
                  <a:gd name="T48" fmla="*/ 2147483647 w 547"/>
                  <a:gd name="T49" fmla="*/ 2147483647 h 334"/>
                  <a:gd name="T50" fmla="*/ 2147483647 w 547"/>
                  <a:gd name="T51" fmla="*/ 2147483647 h 334"/>
                  <a:gd name="T52" fmla="*/ 2147483647 w 547"/>
                  <a:gd name="T53" fmla="*/ 2147483647 h 334"/>
                  <a:gd name="T54" fmla="*/ 2147483647 w 547"/>
                  <a:gd name="T55" fmla="*/ 2147483647 h 334"/>
                  <a:gd name="T56" fmla="*/ 2147483647 w 547"/>
                  <a:gd name="T57" fmla="*/ 2147483647 h 334"/>
                  <a:gd name="T58" fmla="*/ 2147483647 w 547"/>
                  <a:gd name="T59" fmla="*/ 2147483647 h 334"/>
                  <a:gd name="T60" fmla="*/ 2147483647 w 547"/>
                  <a:gd name="T61" fmla="*/ 2147483647 h 334"/>
                  <a:gd name="T62" fmla="*/ 2147483647 w 547"/>
                  <a:gd name="T63" fmla="*/ 2147483647 h 334"/>
                  <a:gd name="T64" fmla="*/ 2147483647 w 547"/>
                  <a:gd name="T65" fmla="*/ 2147483647 h 334"/>
                  <a:gd name="T66" fmla="*/ 2147483647 w 547"/>
                  <a:gd name="T67" fmla="*/ 2147483647 h 334"/>
                  <a:gd name="T68" fmla="*/ 2147483647 w 547"/>
                  <a:gd name="T69" fmla="*/ 2147483647 h 334"/>
                  <a:gd name="T70" fmla="*/ 2147483647 w 547"/>
                  <a:gd name="T71" fmla="*/ 2147483647 h 334"/>
                  <a:gd name="T72" fmla="*/ 2147483647 w 547"/>
                  <a:gd name="T73" fmla="*/ 2147483647 h 334"/>
                  <a:gd name="T74" fmla="*/ 2147483647 w 547"/>
                  <a:gd name="T75" fmla="*/ 2147483647 h 334"/>
                  <a:gd name="T76" fmla="*/ 2147483647 w 547"/>
                  <a:gd name="T77" fmla="*/ 2147483647 h 334"/>
                  <a:gd name="T78" fmla="*/ 2147483647 w 547"/>
                  <a:gd name="T79" fmla="*/ 2147483647 h 334"/>
                  <a:gd name="T80" fmla="*/ 2147483647 w 547"/>
                  <a:gd name="T81" fmla="*/ 2147483647 h 334"/>
                  <a:gd name="T82" fmla="*/ 2147483647 w 547"/>
                  <a:gd name="T83" fmla="*/ 2147483647 h 334"/>
                  <a:gd name="T84" fmla="*/ 2147483647 w 547"/>
                  <a:gd name="T85" fmla="*/ 2147483647 h 334"/>
                  <a:gd name="T86" fmla="*/ 2147483647 w 547"/>
                  <a:gd name="T87" fmla="*/ 2147483647 h 334"/>
                  <a:gd name="T88" fmla="*/ 2147483647 w 547"/>
                  <a:gd name="T89" fmla="*/ 2147483647 h 334"/>
                  <a:gd name="T90" fmla="*/ 2147483647 w 547"/>
                  <a:gd name="T91" fmla="*/ 2147483647 h 334"/>
                  <a:gd name="T92" fmla="*/ 2147483647 w 547"/>
                  <a:gd name="T93" fmla="*/ 2147483647 h 334"/>
                  <a:gd name="T94" fmla="*/ 2147483647 w 547"/>
                  <a:gd name="T95" fmla="*/ 2147483647 h 334"/>
                  <a:gd name="T96" fmla="*/ 2147483647 w 547"/>
                  <a:gd name="T97" fmla="*/ 2147483647 h 334"/>
                  <a:gd name="T98" fmla="*/ 2147483647 w 547"/>
                  <a:gd name="T99" fmla="*/ 2147483647 h 334"/>
                  <a:gd name="T100" fmla="*/ 2147483647 w 547"/>
                  <a:gd name="T101" fmla="*/ 2147483647 h 334"/>
                  <a:gd name="T102" fmla="*/ 2147483647 w 547"/>
                  <a:gd name="T103" fmla="*/ 2147483647 h 334"/>
                  <a:gd name="T104" fmla="*/ 2147483647 w 547"/>
                  <a:gd name="T105" fmla="*/ 2147483647 h 334"/>
                  <a:gd name="T106" fmla="*/ 2147483647 w 547"/>
                  <a:gd name="T107" fmla="*/ 2147483647 h 334"/>
                  <a:gd name="T108" fmla="*/ 2147483647 w 547"/>
                  <a:gd name="T109" fmla="*/ 2147483647 h 334"/>
                  <a:gd name="T110" fmla="*/ 2147483647 w 547"/>
                  <a:gd name="T111" fmla="*/ 2147483647 h 334"/>
                  <a:gd name="T112" fmla="*/ 2147483647 w 547"/>
                  <a:gd name="T113" fmla="*/ 2147483647 h 334"/>
                  <a:gd name="T114" fmla="*/ 2147483647 w 547"/>
                  <a:gd name="T115" fmla="*/ 2147483647 h 334"/>
                  <a:gd name="T116" fmla="*/ 2147483647 w 547"/>
                  <a:gd name="T117" fmla="*/ 2147483647 h 334"/>
                  <a:gd name="T118" fmla="*/ 2147483647 w 547"/>
                  <a:gd name="T119" fmla="*/ 2147483647 h 334"/>
                  <a:gd name="T120" fmla="*/ 2147483647 w 547"/>
                  <a:gd name="T121" fmla="*/ 2147483647 h 334"/>
                  <a:gd name="T122" fmla="*/ 2147483647 w 547"/>
                  <a:gd name="T123" fmla="*/ 2147483647 h 33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47" h="334">
                    <a:moveTo>
                      <a:pt x="530" y="96"/>
                    </a:moveTo>
                    <a:cubicBezTo>
                      <a:pt x="492" y="54"/>
                      <a:pt x="435" y="85"/>
                      <a:pt x="435" y="85"/>
                    </a:cubicBezTo>
                    <a:cubicBezTo>
                      <a:pt x="427" y="83"/>
                      <a:pt x="425" y="88"/>
                      <a:pt x="425" y="88"/>
                    </a:cubicBezTo>
                    <a:cubicBezTo>
                      <a:pt x="393" y="114"/>
                      <a:pt x="359" y="121"/>
                      <a:pt x="359" y="121"/>
                    </a:cubicBezTo>
                    <a:cubicBezTo>
                      <a:pt x="328" y="127"/>
                      <a:pt x="333" y="102"/>
                      <a:pt x="333" y="102"/>
                    </a:cubicBezTo>
                    <a:cubicBezTo>
                      <a:pt x="333" y="89"/>
                      <a:pt x="324" y="99"/>
                      <a:pt x="324" y="99"/>
                    </a:cubicBezTo>
                    <a:cubicBezTo>
                      <a:pt x="318" y="107"/>
                      <a:pt x="298" y="118"/>
                      <a:pt x="298" y="118"/>
                    </a:cubicBezTo>
                    <a:cubicBezTo>
                      <a:pt x="257" y="139"/>
                      <a:pt x="245" y="113"/>
                      <a:pt x="245" y="113"/>
                    </a:cubicBezTo>
                    <a:cubicBezTo>
                      <a:pt x="237" y="94"/>
                      <a:pt x="237" y="94"/>
                      <a:pt x="237" y="94"/>
                    </a:cubicBezTo>
                    <a:cubicBezTo>
                      <a:pt x="228" y="71"/>
                      <a:pt x="195" y="120"/>
                      <a:pt x="195" y="120"/>
                    </a:cubicBezTo>
                    <a:cubicBezTo>
                      <a:pt x="185" y="137"/>
                      <a:pt x="183" y="135"/>
                      <a:pt x="183" y="135"/>
                    </a:cubicBezTo>
                    <a:cubicBezTo>
                      <a:pt x="190" y="110"/>
                      <a:pt x="218" y="68"/>
                      <a:pt x="218" y="68"/>
                    </a:cubicBezTo>
                    <a:cubicBezTo>
                      <a:pt x="239" y="31"/>
                      <a:pt x="233" y="12"/>
                      <a:pt x="233" y="12"/>
                    </a:cubicBezTo>
                    <a:cubicBezTo>
                      <a:pt x="228" y="0"/>
                      <a:pt x="223" y="16"/>
                      <a:pt x="223" y="16"/>
                    </a:cubicBezTo>
                    <a:cubicBezTo>
                      <a:pt x="221" y="29"/>
                      <a:pt x="214" y="46"/>
                      <a:pt x="214" y="46"/>
                    </a:cubicBezTo>
                    <a:cubicBezTo>
                      <a:pt x="204" y="73"/>
                      <a:pt x="194" y="86"/>
                      <a:pt x="194" y="86"/>
                    </a:cubicBezTo>
                    <a:cubicBezTo>
                      <a:pt x="147" y="117"/>
                      <a:pt x="116" y="124"/>
                      <a:pt x="97" y="124"/>
                    </a:cubicBezTo>
                    <a:cubicBezTo>
                      <a:pt x="100" y="109"/>
                      <a:pt x="99" y="96"/>
                      <a:pt x="99" y="96"/>
                    </a:cubicBezTo>
                    <a:cubicBezTo>
                      <a:pt x="96" y="67"/>
                      <a:pt x="73" y="72"/>
                      <a:pt x="73" y="72"/>
                    </a:cubicBezTo>
                    <a:cubicBezTo>
                      <a:pt x="35" y="77"/>
                      <a:pt x="10" y="129"/>
                      <a:pt x="10" y="129"/>
                    </a:cubicBezTo>
                    <a:cubicBezTo>
                      <a:pt x="0" y="154"/>
                      <a:pt x="15" y="152"/>
                      <a:pt x="15" y="152"/>
                    </a:cubicBezTo>
                    <a:cubicBezTo>
                      <a:pt x="25" y="149"/>
                      <a:pt x="17" y="144"/>
                      <a:pt x="17" y="144"/>
                    </a:cubicBezTo>
                    <a:cubicBezTo>
                      <a:pt x="17" y="130"/>
                      <a:pt x="34" y="110"/>
                      <a:pt x="34" y="110"/>
                    </a:cubicBezTo>
                    <a:cubicBezTo>
                      <a:pt x="72" y="70"/>
                      <a:pt x="81" y="83"/>
                      <a:pt x="81" y="83"/>
                    </a:cubicBezTo>
                    <a:cubicBezTo>
                      <a:pt x="80" y="83"/>
                      <a:pt x="92" y="89"/>
                      <a:pt x="88" y="114"/>
                    </a:cubicBezTo>
                    <a:cubicBezTo>
                      <a:pt x="88" y="118"/>
                      <a:pt x="87" y="121"/>
                      <a:pt x="87" y="124"/>
                    </a:cubicBezTo>
                    <a:cubicBezTo>
                      <a:pt x="79" y="123"/>
                      <a:pt x="75" y="121"/>
                      <a:pt x="75" y="121"/>
                    </a:cubicBezTo>
                    <a:cubicBezTo>
                      <a:pt x="69" y="115"/>
                      <a:pt x="67" y="117"/>
                      <a:pt x="67" y="117"/>
                    </a:cubicBezTo>
                    <a:cubicBezTo>
                      <a:pt x="50" y="123"/>
                      <a:pt x="65" y="150"/>
                      <a:pt x="65" y="150"/>
                    </a:cubicBezTo>
                    <a:cubicBezTo>
                      <a:pt x="77" y="167"/>
                      <a:pt x="89" y="146"/>
                      <a:pt x="89" y="146"/>
                    </a:cubicBezTo>
                    <a:cubicBezTo>
                      <a:pt x="91" y="142"/>
                      <a:pt x="93" y="139"/>
                      <a:pt x="94" y="135"/>
                    </a:cubicBezTo>
                    <a:cubicBezTo>
                      <a:pt x="135" y="134"/>
                      <a:pt x="186" y="103"/>
                      <a:pt x="186" y="103"/>
                    </a:cubicBezTo>
                    <a:cubicBezTo>
                      <a:pt x="185" y="112"/>
                      <a:pt x="177" y="126"/>
                      <a:pt x="177" y="126"/>
                    </a:cubicBezTo>
                    <a:cubicBezTo>
                      <a:pt x="161" y="155"/>
                      <a:pt x="166" y="154"/>
                      <a:pt x="166" y="154"/>
                    </a:cubicBezTo>
                    <a:cubicBezTo>
                      <a:pt x="171" y="165"/>
                      <a:pt x="180" y="149"/>
                      <a:pt x="180" y="149"/>
                    </a:cubicBezTo>
                    <a:cubicBezTo>
                      <a:pt x="230" y="82"/>
                      <a:pt x="230" y="100"/>
                      <a:pt x="230" y="100"/>
                    </a:cubicBezTo>
                    <a:cubicBezTo>
                      <a:pt x="233" y="109"/>
                      <a:pt x="233" y="109"/>
                      <a:pt x="233" y="109"/>
                    </a:cubicBezTo>
                    <a:cubicBezTo>
                      <a:pt x="257" y="165"/>
                      <a:pt x="321" y="111"/>
                      <a:pt x="321" y="111"/>
                    </a:cubicBezTo>
                    <a:cubicBezTo>
                      <a:pt x="337" y="152"/>
                      <a:pt x="393" y="117"/>
                      <a:pt x="393" y="117"/>
                    </a:cubicBezTo>
                    <a:cubicBezTo>
                      <a:pt x="332" y="198"/>
                      <a:pt x="323" y="285"/>
                      <a:pt x="323" y="285"/>
                    </a:cubicBezTo>
                    <a:cubicBezTo>
                      <a:pt x="319" y="317"/>
                      <a:pt x="333" y="321"/>
                      <a:pt x="333" y="321"/>
                    </a:cubicBezTo>
                    <a:cubicBezTo>
                      <a:pt x="368" y="334"/>
                      <a:pt x="391" y="235"/>
                      <a:pt x="391" y="235"/>
                    </a:cubicBezTo>
                    <a:cubicBezTo>
                      <a:pt x="424" y="121"/>
                      <a:pt x="424" y="121"/>
                      <a:pt x="424" y="121"/>
                    </a:cubicBezTo>
                    <a:cubicBezTo>
                      <a:pt x="429" y="100"/>
                      <a:pt x="432" y="100"/>
                      <a:pt x="432" y="100"/>
                    </a:cubicBezTo>
                    <a:cubicBezTo>
                      <a:pt x="434" y="97"/>
                      <a:pt x="435" y="96"/>
                      <a:pt x="435" y="96"/>
                    </a:cubicBezTo>
                    <a:cubicBezTo>
                      <a:pt x="437" y="94"/>
                      <a:pt x="438" y="94"/>
                      <a:pt x="438" y="94"/>
                    </a:cubicBezTo>
                    <a:cubicBezTo>
                      <a:pt x="485" y="70"/>
                      <a:pt x="510" y="92"/>
                      <a:pt x="510" y="92"/>
                    </a:cubicBezTo>
                    <a:cubicBezTo>
                      <a:pt x="540" y="114"/>
                      <a:pt x="524" y="134"/>
                      <a:pt x="524" y="134"/>
                    </a:cubicBezTo>
                    <a:cubicBezTo>
                      <a:pt x="496" y="163"/>
                      <a:pt x="461" y="149"/>
                      <a:pt x="461" y="149"/>
                    </a:cubicBezTo>
                    <a:cubicBezTo>
                      <a:pt x="447" y="142"/>
                      <a:pt x="448" y="146"/>
                      <a:pt x="448" y="146"/>
                    </a:cubicBezTo>
                    <a:cubicBezTo>
                      <a:pt x="467" y="163"/>
                      <a:pt x="494" y="160"/>
                      <a:pt x="494" y="160"/>
                    </a:cubicBezTo>
                    <a:cubicBezTo>
                      <a:pt x="518" y="158"/>
                      <a:pt x="534" y="137"/>
                      <a:pt x="534" y="137"/>
                    </a:cubicBezTo>
                    <a:cubicBezTo>
                      <a:pt x="547" y="117"/>
                      <a:pt x="530" y="96"/>
                      <a:pt x="530" y="96"/>
                    </a:cubicBezTo>
                    <a:moveTo>
                      <a:pt x="74" y="145"/>
                    </a:moveTo>
                    <a:cubicBezTo>
                      <a:pt x="70" y="142"/>
                      <a:pt x="68" y="130"/>
                      <a:pt x="68" y="130"/>
                    </a:cubicBezTo>
                    <a:cubicBezTo>
                      <a:pt x="73" y="133"/>
                      <a:pt x="79" y="134"/>
                      <a:pt x="85" y="135"/>
                    </a:cubicBezTo>
                    <a:cubicBezTo>
                      <a:pt x="80" y="154"/>
                      <a:pt x="74" y="145"/>
                      <a:pt x="74" y="145"/>
                    </a:cubicBezTo>
                    <a:moveTo>
                      <a:pt x="373" y="259"/>
                    </a:moveTo>
                    <a:cubicBezTo>
                      <a:pt x="359" y="304"/>
                      <a:pt x="345" y="310"/>
                      <a:pt x="345" y="310"/>
                    </a:cubicBezTo>
                    <a:cubicBezTo>
                      <a:pt x="317" y="318"/>
                      <a:pt x="343" y="234"/>
                      <a:pt x="343" y="234"/>
                    </a:cubicBezTo>
                    <a:cubicBezTo>
                      <a:pt x="372" y="140"/>
                      <a:pt x="417" y="109"/>
                      <a:pt x="417" y="109"/>
                    </a:cubicBezTo>
                    <a:cubicBezTo>
                      <a:pt x="421" y="107"/>
                      <a:pt x="373" y="259"/>
                      <a:pt x="373" y="25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4181238" y="3747528"/>
                <a:ext cx="3708400" cy="183444"/>
              </a:xfrm>
              <a:custGeom>
                <a:avLst/>
                <a:gdLst>
                  <a:gd name="T0" fmla="*/ 0 w 1168"/>
                  <a:gd name="T1" fmla="*/ 2147483647 h 52"/>
                  <a:gd name="T2" fmla="*/ 2147483647 w 1168"/>
                  <a:gd name="T3" fmla="*/ 2147483647 h 52"/>
                  <a:gd name="T4" fmla="*/ 2147483647 w 1168"/>
                  <a:gd name="T5" fmla="*/ 2147483647 h 52"/>
                  <a:gd name="T6" fmla="*/ 2147483647 w 1168"/>
                  <a:gd name="T7" fmla="*/ 2147483647 h 52"/>
                  <a:gd name="T8" fmla="*/ 2147483647 w 1168"/>
                  <a:gd name="T9" fmla="*/ 2147483647 h 52"/>
                  <a:gd name="T10" fmla="*/ 2147483647 w 1168"/>
                  <a:gd name="T11" fmla="*/ 2147483647 h 52"/>
                  <a:gd name="T12" fmla="*/ 0 w 1168"/>
                  <a:gd name="T13" fmla="*/ 2147483647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68" h="52">
                    <a:moveTo>
                      <a:pt x="0" y="46"/>
                    </a:moveTo>
                    <a:cubicBezTo>
                      <a:pt x="0" y="46"/>
                      <a:pt x="417" y="14"/>
                      <a:pt x="607" y="14"/>
                    </a:cubicBezTo>
                    <a:cubicBezTo>
                      <a:pt x="607" y="14"/>
                      <a:pt x="1089" y="0"/>
                      <a:pt x="1168" y="32"/>
                    </a:cubicBezTo>
                    <a:cubicBezTo>
                      <a:pt x="1164" y="40"/>
                      <a:pt x="1164" y="40"/>
                      <a:pt x="1164" y="40"/>
                    </a:cubicBezTo>
                    <a:cubicBezTo>
                      <a:pt x="1164" y="40"/>
                      <a:pt x="1059" y="16"/>
                      <a:pt x="756" y="18"/>
                    </a:cubicBezTo>
                    <a:cubicBezTo>
                      <a:pt x="756" y="18"/>
                      <a:pt x="183" y="28"/>
                      <a:pt x="12" y="52"/>
                    </a:cubicBezTo>
                    <a:lnTo>
                      <a:pt x="0" y="4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8448438" y="3207778"/>
                <a:ext cx="76200" cy="102306"/>
              </a:xfrm>
              <a:custGeom>
                <a:avLst/>
                <a:gdLst>
                  <a:gd name="T0" fmla="*/ 2147483647 w 48"/>
                  <a:gd name="T1" fmla="*/ 0 h 58"/>
                  <a:gd name="T2" fmla="*/ 2147483647 w 48"/>
                  <a:gd name="T3" fmla="*/ 2147483647 h 58"/>
                  <a:gd name="T4" fmla="*/ 2147483647 w 48"/>
                  <a:gd name="T5" fmla="*/ 2147483647 h 58"/>
                  <a:gd name="T6" fmla="*/ 2147483647 w 48"/>
                  <a:gd name="T7" fmla="*/ 2147483647 h 58"/>
                  <a:gd name="T8" fmla="*/ 2147483647 w 48"/>
                  <a:gd name="T9" fmla="*/ 2147483647 h 58"/>
                  <a:gd name="T10" fmla="*/ 2147483647 w 48"/>
                  <a:gd name="T11" fmla="*/ 2147483647 h 58"/>
                  <a:gd name="T12" fmla="*/ 0 w 48"/>
                  <a:gd name="T13" fmla="*/ 2147483647 h 58"/>
                  <a:gd name="T14" fmla="*/ 0 w 48"/>
                  <a:gd name="T15" fmla="*/ 0 h 58"/>
                  <a:gd name="T16" fmla="*/ 2147483647 w 48"/>
                  <a:gd name="T17" fmla="*/ 0 h 5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58">
                    <a:moveTo>
                      <a:pt x="48" y="0"/>
                    </a:moveTo>
                    <a:lnTo>
                      <a:pt x="48" y="8"/>
                    </a:lnTo>
                    <a:lnTo>
                      <a:pt x="28" y="8"/>
                    </a:lnTo>
                    <a:lnTo>
                      <a:pt x="28" y="58"/>
                    </a:lnTo>
                    <a:lnTo>
                      <a:pt x="20" y="58"/>
                    </a:lnTo>
                    <a:lnTo>
                      <a:pt x="20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8534163" y="3207778"/>
                <a:ext cx="88900" cy="102306"/>
              </a:xfrm>
              <a:custGeom>
                <a:avLst/>
                <a:gdLst>
                  <a:gd name="T0" fmla="*/ 2147483647 w 28"/>
                  <a:gd name="T1" fmla="*/ 0 h 29"/>
                  <a:gd name="T2" fmla="*/ 2147483647 w 28"/>
                  <a:gd name="T3" fmla="*/ 2147483647 h 29"/>
                  <a:gd name="T4" fmla="*/ 2147483647 w 28"/>
                  <a:gd name="T5" fmla="*/ 2147483647 h 29"/>
                  <a:gd name="T6" fmla="*/ 2147483647 w 28"/>
                  <a:gd name="T7" fmla="*/ 2147483647 h 29"/>
                  <a:gd name="T8" fmla="*/ 2147483647 w 28"/>
                  <a:gd name="T9" fmla="*/ 2147483647 h 29"/>
                  <a:gd name="T10" fmla="*/ 2147483647 w 28"/>
                  <a:gd name="T11" fmla="*/ 2147483647 h 29"/>
                  <a:gd name="T12" fmla="*/ 2147483647 w 28"/>
                  <a:gd name="T13" fmla="*/ 2147483647 h 29"/>
                  <a:gd name="T14" fmla="*/ 2147483647 w 28"/>
                  <a:gd name="T15" fmla="*/ 2147483647 h 29"/>
                  <a:gd name="T16" fmla="*/ 2147483647 w 28"/>
                  <a:gd name="T17" fmla="*/ 2147483647 h 29"/>
                  <a:gd name="T18" fmla="*/ 2147483647 w 28"/>
                  <a:gd name="T19" fmla="*/ 2147483647 h 29"/>
                  <a:gd name="T20" fmla="*/ 2147483647 w 28"/>
                  <a:gd name="T21" fmla="*/ 2147483647 h 29"/>
                  <a:gd name="T22" fmla="*/ 2147483647 w 28"/>
                  <a:gd name="T23" fmla="*/ 2147483647 h 29"/>
                  <a:gd name="T24" fmla="*/ 2147483647 w 28"/>
                  <a:gd name="T25" fmla="*/ 2147483647 h 29"/>
                  <a:gd name="T26" fmla="*/ 2147483647 w 28"/>
                  <a:gd name="T27" fmla="*/ 2147483647 h 29"/>
                  <a:gd name="T28" fmla="*/ 0 w 28"/>
                  <a:gd name="T29" fmla="*/ 2147483647 h 29"/>
                  <a:gd name="T30" fmla="*/ 0 w 28"/>
                  <a:gd name="T31" fmla="*/ 0 h 29"/>
                  <a:gd name="T32" fmla="*/ 2147483647 w 28"/>
                  <a:gd name="T33" fmla="*/ 0 h 29"/>
                  <a:gd name="T34" fmla="*/ 2147483647 w 28"/>
                  <a:gd name="T35" fmla="*/ 2147483647 h 29"/>
                  <a:gd name="T36" fmla="*/ 2147483647 w 28"/>
                  <a:gd name="T37" fmla="*/ 2147483647 h 29"/>
                  <a:gd name="T38" fmla="*/ 2147483647 w 28"/>
                  <a:gd name="T39" fmla="*/ 2147483647 h 29"/>
                  <a:gd name="T40" fmla="*/ 2147483647 w 28"/>
                  <a:gd name="T41" fmla="*/ 2147483647 h 29"/>
                  <a:gd name="T42" fmla="*/ 2147483647 w 28"/>
                  <a:gd name="T43" fmla="*/ 0 h 29"/>
                  <a:gd name="T44" fmla="*/ 2147483647 w 28"/>
                  <a:gd name="T45" fmla="*/ 0 h 2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28" h="29">
                    <a:moveTo>
                      <a:pt x="28" y="0"/>
                    </a:moveTo>
                    <a:cubicBezTo>
                      <a:pt x="28" y="29"/>
                      <a:pt x="28" y="29"/>
                      <a:pt x="28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2"/>
                      <a:pt x="24" y="7"/>
                      <a:pt x="24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2" y="10"/>
                      <a:pt x="21" y="1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0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5" y="12"/>
                      <a:pt x="5" y="1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4" y="15"/>
                      <a:pt x="14" y="16"/>
                      <a:pt x="14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6"/>
                      <a:pt x="15" y="15"/>
                      <a:pt x="17" y="11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3996590" y="4668755"/>
                <a:ext cx="442533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$7 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ILLION | 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110,000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EMPLOYEES | 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31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COUNTRI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655368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DAEF4-0496-4CE4-9C7B-3D6E65EAD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878FD4-F535-4E85-9581-6B7EB2C1B7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763" y="1121971"/>
            <a:ext cx="10390909" cy="541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35979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F4302-D130-4D90-A390-D979FED3D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3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I – What does it really mea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136DE-EFC2-46BA-96FC-3376A05CAE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228" y="1029195"/>
            <a:ext cx="11305309" cy="4628882"/>
          </a:xfrm>
        </p:spPr>
        <p:txBody>
          <a:bodyPr/>
          <a:lstStyle/>
          <a:p>
            <a:pPr marL="0" indent="0" algn="l">
              <a:buNone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+mn-lt"/>
              </a:rPr>
              <a:t>At a regular frequency (ideally at every commit), the system is:</a:t>
            </a:r>
          </a:p>
          <a:p>
            <a:pPr algn="l"/>
            <a:r>
              <a:rPr lang="en-US" sz="1800" b="1" i="0" u="none" strike="noStrike" baseline="0" dirty="0">
                <a:solidFill>
                  <a:srgbClr val="000000"/>
                </a:solidFill>
                <a:latin typeface="+mn-lt"/>
              </a:rPr>
              <a:t>Integrated: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+mn-lt"/>
              </a:rPr>
              <a:t>All changes up until that point are combined into the project</a:t>
            </a:r>
          </a:p>
          <a:p>
            <a:pPr algn="l"/>
            <a:r>
              <a:rPr lang="en-US" sz="1800" b="1" i="0" u="none" strike="noStrike" baseline="0" dirty="0">
                <a:solidFill>
                  <a:srgbClr val="000000"/>
                </a:solidFill>
                <a:latin typeface="+mn-lt"/>
              </a:rPr>
              <a:t>Built: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+mn-lt"/>
              </a:rPr>
              <a:t>The code is compiled into an executable or package</a:t>
            </a:r>
          </a:p>
          <a:p>
            <a:pPr algn="l"/>
            <a:r>
              <a:rPr lang="en-US" sz="1800" b="1" i="0" u="none" strike="noStrike" baseline="0" dirty="0">
                <a:solidFill>
                  <a:srgbClr val="000000"/>
                </a:solidFill>
                <a:latin typeface="+mn-lt"/>
              </a:rPr>
              <a:t>Tested: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+mn-lt"/>
              </a:rPr>
              <a:t>Automated test suites are run</a:t>
            </a:r>
          </a:p>
          <a:p>
            <a:pPr algn="l"/>
            <a:r>
              <a:rPr lang="en-US" sz="1800" b="1" i="0" u="none" strike="noStrike" baseline="0" dirty="0">
                <a:solidFill>
                  <a:srgbClr val="000000"/>
                </a:solidFill>
                <a:latin typeface="+mn-lt"/>
              </a:rPr>
              <a:t>Archived: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+mn-lt"/>
              </a:rPr>
              <a:t>Versioned and stored so it can be distributed as is, if desired</a:t>
            </a:r>
          </a:p>
          <a:p>
            <a:pPr algn="l"/>
            <a:r>
              <a:rPr lang="en-US" sz="1800" b="1" i="0" u="none" strike="noStrike" baseline="0" dirty="0">
                <a:solidFill>
                  <a:srgbClr val="000000"/>
                </a:solidFill>
                <a:latin typeface="+mn-lt"/>
              </a:rPr>
              <a:t>Deployed: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+mn-lt"/>
              </a:rPr>
              <a:t>Loaded onto a system where the developers can interact with it</a:t>
            </a:r>
            <a:endParaRPr lang="en-US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688037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D44CCD-D844-43EB-ABAD-57FF10E87C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627" y="1311966"/>
            <a:ext cx="6946830" cy="385638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283611F-A8E8-4F7E-9FF2-2C4B6A86A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4285" y="2185450"/>
            <a:ext cx="3690257" cy="1450757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b="1" dirty="0"/>
              <a:t>DevOps Tools for this Phase : Jenkins , </a:t>
            </a:r>
            <a:r>
              <a:rPr lang="en-US" b="1" dirty="0" err="1"/>
              <a:t>Teamcity</a:t>
            </a:r>
            <a:r>
              <a:rPr lang="en-US" b="1" dirty="0"/>
              <a:t>, Bamboo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7C3ED34-5924-4E75-8FAD-9120CFAF3C4F}"/>
              </a:ext>
            </a:extLst>
          </p:cNvPr>
          <p:cNvSpPr txBox="1">
            <a:spLocks/>
          </p:cNvSpPr>
          <p:nvPr/>
        </p:nvSpPr>
        <p:spPr bwMode="auto">
          <a:xfrm>
            <a:off x="228600" y="-59377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46087534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02D46-3BE7-4526-91C4-524D027A3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3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enefits of C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0AA06-8E76-4C19-A1C7-2939DBDBCF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Perpetua" panose="02020502060401020303" pitchFamily="18" charset="0"/>
              </a:rPr>
              <a:t>Early Bug Detection</a:t>
            </a:r>
          </a:p>
          <a:p>
            <a:pPr algn="l"/>
            <a:r>
              <a:rPr lang="en-US" sz="1800" dirty="0">
                <a:solidFill>
                  <a:srgbClr val="000000"/>
                </a:solidFill>
                <a:latin typeface="Perpetua" panose="02020502060401020303" pitchFamily="18" charset="0"/>
              </a:rPr>
              <a:t>Easy Debugging and Change</a:t>
            </a:r>
            <a:endParaRPr lang="en-US" sz="1800" b="0" i="0" u="none" strike="noStrike" baseline="0" dirty="0">
              <a:solidFill>
                <a:srgbClr val="000000"/>
              </a:solidFill>
              <a:latin typeface="Perpetua" panose="02020502060401020303" pitchFamily="18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Perpetua" panose="02020502060401020303" pitchFamily="18" charset="0"/>
              </a:rPr>
              <a:t>Quick Feedback Loops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Perpetua" panose="02020502060401020303" pitchFamily="18" charset="0"/>
              </a:rPr>
              <a:t>Better Visibility across  Development processes</a:t>
            </a:r>
          </a:p>
          <a:p>
            <a:pPr algn="l"/>
            <a:r>
              <a:rPr lang="en-US" sz="1800" dirty="0">
                <a:solidFill>
                  <a:srgbClr val="000000"/>
                </a:solidFill>
                <a:latin typeface="Perpetua" panose="02020502060401020303" pitchFamily="18" charset="0"/>
              </a:rPr>
              <a:t>Fast and Reliable Releases</a:t>
            </a:r>
          </a:p>
          <a:p>
            <a:pPr algn="l"/>
            <a:r>
              <a:rPr lang="en-US" sz="1800" dirty="0">
                <a:solidFill>
                  <a:srgbClr val="000000"/>
                </a:solidFill>
                <a:latin typeface="Perpetua" panose="02020502060401020303" pitchFamily="18" charset="0"/>
              </a:rPr>
              <a:t>Cost Reduction</a:t>
            </a:r>
          </a:p>
          <a:p>
            <a:pPr algn="l"/>
            <a:r>
              <a:rPr lang="en-US" sz="1800" dirty="0">
                <a:solidFill>
                  <a:srgbClr val="000000"/>
                </a:solidFill>
                <a:latin typeface="Perpetua" panose="02020502060401020303" pitchFamily="18" charset="0"/>
              </a:rPr>
              <a:t>Enhanced Flexi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9285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D41F0-C18C-495B-9831-0A19D914C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3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at is Jenkin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E3A7B-9A7A-4526-BAFD-75F75EF520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9200"/>
            <a:ext cx="5305301" cy="4628882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Jenkins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is an  automation server enabling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continuous</a:t>
            </a:r>
            <a:r>
              <a:rPr lang="en-US" sz="1800" b="1" spc="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integration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 and Continuous Delivery</a:t>
            </a:r>
            <a:r>
              <a:rPr lang="en-US" sz="1800" b="1" spc="-30" dirty="0">
                <a:solidFill>
                  <a:schemeClr val="tx1"/>
                </a:solidFill>
                <a:latin typeface="Calibri"/>
                <a:cs typeface="Calibri"/>
              </a:rPr>
              <a:t>.</a:t>
            </a:r>
            <a:endParaRPr lang="en-US" sz="18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55600" marR="386080" indent="-342900">
              <a:lnSpc>
                <a:spcPct val="150000"/>
              </a:lnSpc>
              <a:spcBef>
                <a:spcPts val="465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It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is used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to </a:t>
            </a:r>
            <a:r>
              <a:rPr lang="en-US" sz="1800" b="1" spc="-20" dirty="0">
                <a:solidFill>
                  <a:schemeClr val="tx1"/>
                </a:solidFill>
                <a:latin typeface="Calibri"/>
                <a:cs typeface="Calibri"/>
              </a:rPr>
              <a:t>manually,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5" dirty="0">
                <a:solidFill>
                  <a:schemeClr val="tx1"/>
                </a:solidFill>
                <a:latin typeface="Calibri"/>
                <a:cs typeface="Calibri"/>
              </a:rPr>
              <a:t>periodically,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 or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automatically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build , test and deploy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software </a:t>
            </a:r>
            <a:r>
              <a:rPr lang="en-US" sz="1800" b="1" spc="-44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applications.</a:t>
            </a:r>
            <a:endParaRPr lang="en-US" sz="18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55600" indent="-342900">
              <a:lnSpc>
                <a:spcPct val="100000"/>
              </a:lnSpc>
              <a:spcBef>
                <a:spcPts val="170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It 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is an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open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source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Continuous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Integration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tool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written 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in</a:t>
            </a:r>
            <a:r>
              <a:rPr lang="en-US" sz="1800" b="1" spc="1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5" dirty="0">
                <a:solidFill>
                  <a:schemeClr val="tx1"/>
                </a:solidFill>
                <a:latin typeface="Calibri"/>
                <a:cs typeface="Calibri"/>
              </a:rPr>
              <a:t>Java.</a:t>
            </a:r>
            <a:endParaRPr lang="en-US" sz="18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55600" marR="5080" indent="-342900">
              <a:lnSpc>
                <a:spcPct val="150000"/>
              </a:lnSpc>
              <a:spcBef>
                <a:spcPts val="465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Jenkins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is used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by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teams</a:t>
            </a:r>
            <a:r>
              <a:rPr lang="en-US" sz="1800" b="1" spc="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of 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all</a:t>
            </a:r>
            <a:r>
              <a:rPr lang="en-US" sz="1800" b="1" spc="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5" dirty="0">
                <a:solidFill>
                  <a:schemeClr val="tx1"/>
                </a:solidFill>
                <a:latin typeface="Calibri"/>
                <a:cs typeface="Calibri"/>
              </a:rPr>
              <a:t>different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sizes,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5" dirty="0">
                <a:solidFill>
                  <a:schemeClr val="tx1"/>
                </a:solidFill>
                <a:latin typeface="Calibri"/>
                <a:cs typeface="Calibri"/>
              </a:rPr>
              <a:t>for</a:t>
            </a:r>
            <a:r>
              <a:rPr lang="en-US" sz="1800" b="1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projects</a:t>
            </a:r>
            <a:r>
              <a:rPr lang="en-US" sz="1800" b="1" spc="5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with </a:t>
            </a:r>
            <a:r>
              <a:rPr lang="en-US" sz="1800" b="1" spc="-10" dirty="0">
                <a:solidFill>
                  <a:schemeClr val="tx1"/>
                </a:solidFill>
                <a:latin typeface="Calibri"/>
                <a:cs typeface="Calibri"/>
              </a:rPr>
              <a:t>various </a:t>
            </a:r>
            <a:r>
              <a:rPr lang="en-US" sz="1800" b="1" spc="-434" dirty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sz="1800" b="1" spc="-5" dirty="0">
                <a:solidFill>
                  <a:schemeClr val="tx1"/>
                </a:solidFill>
                <a:latin typeface="Calibri"/>
                <a:cs typeface="Calibri"/>
              </a:rPr>
              <a:t>languages</a:t>
            </a:r>
            <a:r>
              <a:rPr lang="en-US" b="1" spc="-5" dirty="0">
                <a:solidFill>
                  <a:schemeClr val="tx1"/>
                </a:solidFill>
                <a:latin typeface="Calibri"/>
                <a:cs typeface="Calibri"/>
              </a:rPr>
              <a:t>.</a:t>
            </a:r>
            <a:endParaRPr lang="en-US" b="1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C7DDE-7B3D-4CDC-8AAD-4351A6FB46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336099"/>
            <a:ext cx="4948237" cy="3924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46460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6861D3-17C8-4577-B0D7-4B33ACB44A09}"/>
              </a:ext>
            </a:extLst>
          </p:cNvPr>
          <p:cNvSpPr txBox="1"/>
          <p:nvPr/>
        </p:nvSpPr>
        <p:spPr>
          <a:xfrm>
            <a:off x="4295899" y="1680666"/>
            <a:ext cx="6097978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u="none" strike="noStrike" baseline="0" dirty="0"/>
              <a:t>Branched from Hudson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u="none" strike="noStrike" baseline="0" dirty="0"/>
              <a:t> Java based Continuous Build System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u="none" strike="noStrike" baseline="0" dirty="0"/>
              <a:t> Runs in servlet container</a:t>
            </a:r>
          </a:p>
          <a:p>
            <a:pPr algn="l"/>
            <a:r>
              <a:rPr lang="en-US" dirty="0"/>
              <a:t>       </a:t>
            </a:r>
            <a:r>
              <a:rPr lang="en-US" b="0" i="0" u="none" strike="noStrike" baseline="0" dirty="0"/>
              <a:t> Glassfish, Tomcat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u="none" strike="noStrike" baseline="0" dirty="0"/>
              <a:t> Supported by over 400 plugins</a:t>
            </a:r>
          </a:p>
          <a:p>
            <a:pPr algn="l"/>
            <a:r>
              <a:rPr lang="en-US" dirty="0"/>
              <a:t>        </a:t>
            </a:r>
            <a:r>
              <a:rPr lang="en-US" b="0" i="0" u="none" strike="noStrike" baseline="0" dirty="0"/>
              <a:t>SCM, Testing, Deployments, Notifications, Reporting,</a:t>
            </a:r>
          </a:p>
          <a:p>
            <a:pPr algn="l"/>
            <a:r>
              <a:rPr lang="en-US" b="0" i="0" u="none" strike="noStrike" baseline="0" dirty="0"/>
              <a:t>       Artifact Saving, Triggers, External Integration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u="none" strike="noStrike" baseline="0" dirty="0"/>
              <a:t>Under development since 2005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0" i="0" u="none" strike="noStrike" baseline="0" dirty="0"/>
              <a:t> http://jenkins-ci.org/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9F09F7-D087-4CC3-986B-AA9826669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6043" y="1858796"/>
            <a:ext cx="1763486" cy="202300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AC9853F-8EA3-4995-8C36-953F7A8488AF}"/>
              </a:ext>
            </a:extLst>
          </p:cNvPr>
          <p:cNvSpPr txBox="1">
            <a:spLocks/>
          </p:cNvSpPr>
          <p:nvPr/>
        </p:nvSpPr>
        <p:spPr bwMode="auto">
          <a:xfrm>
            <a:off x="228600" y="-59377"/>
            <a:ext cx="10909073" cy="781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bout Jenkins</a:t>
            </a:r>
          </a:p>
        </p:txBody>
      </p:sp>
    </p:spTree>
    <p:extLst>
      <p:ext uri="{BB962C8B-B14F-4D97-AF65-F5344CB8AC3E}">
        <p14:creationId xmlns:p14="http://schemas.microsoft.com/office/powerpoint/2010/main" val="237701304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FE9CB37-AEC5-435D-982F-110B72FB8482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231775" y="107950"/>
            <a:ext cx="862171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y Jenkins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FE5E83F-4BDF-48C8-B9BF-D2F99E6195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None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enkins is important for CI/CD pipelines for three key reasons: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enkins makes it easier for developers to continuously integrate changes.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enkins makes it easier for developers to get the latest build.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enkins adds automation to CI/CD pipelines.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Opensource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rge support community and thorough documentation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sily extendable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97EBE05-59EA-4408-BD3D-786E97A84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6523" y="2049359"/>
            <a:ext cx="3800551" cy="319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82578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CL Template">
  <a:themeElements>
    <a:clrScheme name="HCL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HCL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HCL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175" cap="flat" cmpd="sng" algn="ctr">
          <a:solidFill>
            <a:schemeClr val="tx1">
              <a:lumMod val="65000"/>
              <a:lumOff val="35000"/>
            </a:schemeClr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3175" cap="flat" cmpd="sng" algn="ctr">
          <a:solidFill>
            <a:schemeClr val="tx1">
              <a:lumMod val="65000"/>
              <a:lumOff val="35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HCL Template">
  <a:themeElements>
    <a:clrScheme name="HCL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HCL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3175" cap="flat" cmpd="sng" algn="ctr">
          <a:solidFill>
            <a:srgbClr val="850909"/>
          </a:solidFill>
          <a:prstDash val="dash"/>
          <a:miter lim="800000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HCL Template">
  <a:themeElements>
    <a:clrScheme name="HCL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74AF93BD0EC84EA6A549CA4A6EC283" ma:contentTypeVersion="12" ma:contentTypeDescription="Create a new document." ma:contentTypeScope="" ma:versionID="f012ded5c781ca77b273f68ca946d603">
  <xsd:schema xmlns:xsd="http://www.w3.org/2001/XMLSchema" xmlns:xs="http://www.w3.org/2001/XMLSchema" xmlns:p="http://schemas.microsoft.com/office/2006/metadata/properties" xmlns:ns2="6907db24-4a3f-4aee-b534-c563ad9e0bb0" xmlns:ns3="1db86307-c299-4550-8338-a812d441b939" targetNamespace="http://schemas.microsoft.com/office/2006/metadata/properties" ma:root="true" ma:fieldsID="c5d87be03bae3a908752ae828339be65" ns2:_="" ns3:_="">
    <xsd:import namespace="6907db24-4a3f-4aee-b534-c563ad9e0bb0"/>
    <xsd:import namespace="1db86307-c299-4550-8338-a812d441b9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7db24-4a3f-4aee-b534-c563ad9e0b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b86307-c299-4550-8338-a812d441b93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9D1023-1452-40C6-AAAE-7AF28AC21105}"/>
</file>

<file path=customXml/itemProps2.xml><?xml version="1.0" encoding="utf-8"?>
<ds:datastoreItem xmlns:ds="http://schemas.openxmlformats.org/officeDocument/2006/customXml" ds:itemID="{865DED48-E99D-4DF1-82F5-39FB048E1E2E}"/>
</file>

<file path=customXml/itemProps3.xml><?xml version="1.0" encoding="utf-8"?>
<ds:datastoreItem xmlns:ds="http://schemas.openxmlformats.org/officeDocument/2006/customXml" ds:itemID="{3E12B0C3-51EA-4294-BBB7-7AF603C7EF5A}"/>
</file>

<file path=docProps/app.xml><?xml version="1.0" encoding="utf-8"?>
<Properties xmlns="http://schemas.openxmlformats.org/officeDocument/2006/extended-properties" xmlns:vt="http://schemas.openxmlformats.org/officeDocument/2006/docPropsVTypes">
  <TotalTime>8976</TotalTime>
  <Words>1081</Words>
  <Application>Microsoft Office PowerPoint</Application>
  <PresentationFormat>Widescreen</PresentationFormat>
  <Paragraphs>173</Paragraphs>
  <Slides>2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rial</vt:lpstr>
      <vt:lpstr>Calibri</vt:lpstr>
      <vt:lpstr>Novecento Book</vt:lpstr>
      <vt:lpstr>Perpetua</vt:lpstr>
      <vt:lpstr>Wingdings</vt:lpstr>
      <vt:lpstr>Wingdings 2</vt:lpstr>
      <vt:lpstr>HCL Template</vt:lpstr>
      <vt:lpstr>3_HCL Template</vt:lpstr>
      <vt:lpstr>1_HCL Template</vt:lpstr>
      <vt:lpstr>2_HCL Template</vt:lpstr>
      <vt:lpstr>think-cell Slide</vt:lpstr>
      <vt:lpstr>Jenkins</vt:lpstr>
      <vt:lpstr>Noticeable Challenges and Trends</vt:lpstr>
      <vt:lpstr>PowerPoint Presentation</vt:lpstr>
      <vt:lpstr>CI – What does it really mean?</vt:lpstr>
      <vt:lpstr>DevOps Tools for this Phase : Jenkins , Teamcity, Bamboo</vt:lpstr>
      <vt:lpstr>Benefits of CI</vt:lpstr>
      <vt:lpstr>What is Jenkins?</vt:lpstr>
      <vt:lpstr>PowerPoint Presentation</vt:lpstr>
      <vt:lpstr>Why Jenkins?</vt:lpstr>
      <vt:lpstr>PowerPoint Presentation</vt:lpstr>
      <vt:lpstr>PowerPoint Presentation</vt:lpstr>
      <vt:lpstr>PowerPoint Presentation</vt:lpstr>
      <vt:lpstr>PowerPoint Presentation</vt:lpstr>
      <vt:lpstr>What is a Jenkins Pipeline?</vt:lpstr>
      <vt:lpstr>PowerPoint Presentation</vt:lpstr>
      <vt:lpstr>PowerPoint Presentation</vt:lpstr>
      <vt:lpstr>Jenkins Pipeline : Advantages</vt:lpstr>
      <vt:lpstr>Static Testing</vt:lpstr>
      <vt:lpstr>Static Code Analysis</vt:lpstr>
      <vt:lpstr>Why use Static Code Analyser</vt:lpstr>
      <vt:lpstr>What is SonarQube?</vt:lpstr>
      <vt:lpstr>SonarQube - Features</vt:lpstr>
      <vt:lpstr>SonarQube - Features</vt:lpstr>
      <vt:lpstr>SonarQube - Featur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B Global Banking- CI/CD Opportunity</dc:title>
  <dc:creator>Deekshita Dharaneeswaran</dc:creator>
  <cp:lastModifiedBy>Veena Marlla</cp:lastModifiedBy>
  <cp:revision>214</cp:revision>
  <dcterms:created xsi:type="dcterms:W3CDTF">2018-01-18T03:50:52Z</dcterms:created>
  <dcterms:modified xsi:type="dcterms:W3CDTF">2021-06-16T14:3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1974fe72-de28-45e4-b7d5-a7f58c292fcc</vt:lpwstr>
  </property>
  <property fmtid="{D5CDD505-2E9C-101B-9397-08002B2CF9AE}" pid="3" name="Classification">
    <vt:lpwstr>null</vt:lpwstr>
  </property>
  <property fmtid="{D5CDD505-2E9C-101B-9397-08002B2CF9AE}" pid="4" name="HCLClassification">
    <vt:lpwstr>HCL_Cla5s_1nt3rnal</vt:lpwstr>
  </property>
  <property fmtid="{D5CDD505-2E9C-101B-9397-08002B2CF9AE}" pid="5" name="HCL_Cla5s_D6">
    <vt:lpwstr>False</vt:lpwstr>
  </property>
  <property fmtid="{D5CDD505-2E9C-101B-9397-08002B2CF9AE}" pid="6" name="HCLClassD6">
    <vt:lpwstr>False</vt:lpwstr>
  </property>
  <property fmtid="{D5CDD505-2E9C-101B-9397-08002B2CF9AE}" pid="7" name="ContentTypeId">
    <vt:lpwstr>0x0101008674AF93BD0EC84EA6A549CA4A6EC283</vt:lpwstr>
  </property>
</Properties>
</file>